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1.xml" ContentType="application/vnd.openxmlformats-officedocument.themeOverride+xml"/>
  <Override PartName="/ppt/tags/tag15.xml" ContentType="application/vnd.openxmlformats-officedocument.presentationml.tags+xml"/>
  <Override PartName="/ppt/theme/themeOverride2.xml" ContentType="application/vnd.openxmlformats-officedocument.themeOverride+xml"/>
  <Override PartName="/ppt/tags/tag16.xml" ContentType="application/vnd.openxmlformats-officedocument.presentationml.tags+xml"/>
  <Override PartName="/ppt/theme/themeOverride3.xml" ContentType="application/vnd.openxmlformats-officedocument.themeOverride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tags/tag18.xml" ContentType="application/vnd.openxmlformats-officedocument.presentationml.tags+xml"/>
  <Override PartName="/ppt/theme/themeOverride5.xml" ContentType="application/vnd.openxmlformats-officedocument.themeOverride+xml"/>
  <Override PartName="/ppt/tags/tag19.xml" ContentType="application/vnd.openxmlformats-officedocument.presentationml.tags+xml"/>
  <Override PartName="/ppt/theme/themeOverride6.xml" ContentType="application/vnd.openxmlformats-officedocument.themeOverride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8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9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0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1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2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1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14.xml" ContentType="application/vnd.openxmlformats-officedocument.themeOverride+xml"/>
  <Override PartName="/ppt/tags/tag45.xml" ContentType="application/vnd.openxmlformats-officedocument.presentationml.tags+xml"/>
  <Override PartName="/ppt/theme/themeOverride15.xml" ContentType="application/vnd.openxmlformats-officedocument.themeOverride+xml"/>
  <Override PartName="/ppt/tags/tag46.xml" ContentType="application/vnd.openxmlformats-officedocument.presentationml.tags+xml"/>
  <Override PartName="/ppt/theme/themeOverride16.xml" ContentType="application/vnd.openxmlformats-officedocument.themeOverride+xml"/>
  <Override PartName="/ppt/tags/tag47.xml" ContentType="application/vnd.openxmlformats-officedocument.presentationml.tags+xml"/>
  <Override PartName="/ppt/theme/themeOverride17.xml" ContentType="application/vnd.openxmlformats-officedocument.themeOverride+xml"/>
  <Override PartName="/ppt/tags/tag48.xml" ContentType="application/vnd.openxmlformats-officedocument.presentationml.tags+xml"/>
  <Override PartName="/ppt/theme/themeOverride18.xml" ContentType="application/vnd.openxmlformats-officedocument.themeOverride+xml"/>
  <Override PartName="/ppt/tags/tag49.xml" ContentType="application/vnd.openxmlformats-officedocument.presentationml.tags+xml"/>
  <Override PartName="/ppt/theme/themeOverride19.xml" ContentType="application/vnd.openxmlformats-officedocument.themeOverride+xml"/>
  <Override PartName="/ppt/tags/tag50.xml" ContentType="application/vnd.openxmlformats-officedocument.presentationml.tags+xml"/>
  <Override PartName="/ppt/theme/themeOverride20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1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2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Override2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4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25.xml" ContentType="application/vnd.openxmlformats-officedocument.themeOverride+xml"/>
  <Override PartName="/ppt/tags/tag63.xml" ContentType="application/vnd.openxmlformats-officedocument.presentationml.tags+xml"/>
  <Override PartName="/ppt/theme/themeOverride2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27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28.xml" ContentType="application/vnd.openxmlformats-officedocument.themeOverride+xml"/>
  <Override PartName="/ppt/tags/tag71.xml" ContentType="application/vnd.openxmlformats-officedocument.presentationml.tags+xml"/>
  <Override PartName="/ppt/theme/themeOverride29.xml" ContentType="application/vnd.openxmlformats-officedocument.themeOverride+xml"/>
  <Override PartName="/ppt/tags/tag72.xml" ContentType="application/vnd.openxmlformats-officedocument.presentationml.tags+xml"/>
  <Override PartName="/ppt/theme/themeOverride30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Override31.xml" ContentType="application/vnd.openxmlformats-officedocument.themeOverride+xml"/>
  <Override PartName="/ppt/tags/tag78.xml" ContentType="application/vnd.openxmlformats-officedocument.presentationml.tags+xml"/>
  <Override PartName="/ppt/theme/themeOverride32.xml" ContentType="application/vnd.openxmlformats-officedocument.themeOverride+xml"/>
  <Override PartName="/ppt/tags/tag79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9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77" r:id="rId6"/>
    <p:sldMasterId id="2147483699" r:id="rId7"/>
    <p:sldMasterId id="2147483742" r:id="rId8"/>
    <p:sldMasterId id="2147483818" r:id="rId9"/>
    <p:sldMasterId id="2147483837" r:id="rId10"/>
    <p:sldMasterId id="2147483844" r:id="rId11"/>
    <p:sldMasterId id="2147483851" r:id="rId12"/>
    <p:sldMasterId id="2147483860" r:id="rId13"/>
  </p:sldMasterIdLst>
  <p:notesMasterIdLst>
    <p:notesMasterId r:id="rId21"/>
  </p:notesMasterIdLst>
  <p:sldIdLst>
    <p:sldId id="395" r:id="rId14"/>
    <p:sldId id="1568938726" r:id="rId15"/>
    <p:sldId id="1568938724" r:id="rId16"/>
    <p:sldId id="1568938730" r:id="rId17"/>
    <p:sldId id="1568938728" r:id="rId18"/>
    <p:sldId id="1568938705" r:id="rId19"/>
    <p:sldId id="156893873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29" autoAdjust="0"/>
    <p:restoredTop sz="94660"/>
  </p:normalViewPr>
  <p:slideViewPr>
    <p:cSldViewPr snapToGrid="0">
      <p:cViewPr varScale="1">
        <p:scale>
          <a:sx n="83" d="100"/>
          <a:sy n="83" d="100"/>
        </p:scale>
        <p:origin x="30" y="1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3" d="100"/>
        <a:sy n="103" d="100"/>
      </p:scale>
      <p:origin x="0" y="-46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27266-0EBD-4E0C-8F5C-678E31134E2A}" type="datetimeFigureOut">
              <a:rPr lang="en-SG" smtClean="0"/>
              <a:t>27/11/2023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58E489-C3BD-46C1-9355-F2DCDEECB0BD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69789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image" Target="../media/image31.png"/><Relationship Id="rId16" Type="http://schemas.openxmlformats.org/officeDocument/2006/relationships/image" Target="../media/image46.png"/><Relationship Id="rId20" Type="http://schemas.openxmlformats.org/officeDocument/2006/relationships/image" Target="../media/image50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jp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image" Target="../media/image1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1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1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1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1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1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18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1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Relationship Id="rId4" Type="http://schemas.openxmlformats.org/officeDocument/2006/relationships/image" Target="../media/image18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1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6" Type="http://schemas.openxmlformats.org/officeDocument/2006/relationships/image" Target="../media/image12.png"/><Relationship Id="rId5" Type="http://schemas.openxmlformats.org/officeDocument/2006/relationships/image" Target="../media/image22.png"/><Relationship Id="rId4" Type="http://schemas.openxmlformats.org/officeDocument/2006/relationships/image" Target="../media/image1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6" Type="http://schemas.openxmlformats.org/officeDocument/2006/relationships/image" Target="../media/image12.png"/><Relationship Id="rId5" Type="http://schemas.openxmlformats.org/officeDocument/2006/relationships/image" Target="../media/image25.png"/><Relationship Id="rId4" Type="http://schemas.openxmlformats.org/officeDocument/2006/relationships/image" Target="../media/image1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25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6" Type="http://schemas.openxmlformats.org/officeDocument/2006/relationships/image" Target="../media/image12.png"/><Relationship Id="rId5" Type="http://schemas.openxmlformats.org/officeDocument/2006/relationships/image" Target="../media/image26.png"/><Relationship Id="rId4" Type="http://schemas.openxmlformats.org/officeDocument/2006/relationships/image" Target="../media/image1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6" Type="http://schemas.openxmlformats.org/officeDocument/2006/relationships/image" Target="../media/image12.png"/><Relationship Id="rId5" Type="http://schemas.openxmlformats.org/officeDocument/2006/relationships/image" Target="../media/image26.png"/><Relationship Id="rId4" Type="http://schemas.openxmlformats.org/officeDocument/2006/relationships/image" Target="../media/image18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4" Type="http://schemas.openxmlformats.org/officeDocument/2006/relationships/image" Target="../media/image18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1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8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18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18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8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46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47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48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49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50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51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2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6" Type="http://schemas.openxmlformats.org/officeDocument/2006/relationships/image" Target="../media/image12.png"/><Relationship Id="rId5" Type="http://schemas.openxmlformats.org/officeDocument/2006/relationships/image" Target="../media/image22.png"/><Relationship Id="rId4" Type="http://schemas.openxmlformats.org/officeDocument/2006/relationships/image" Target="../media/image18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53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24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6" Type="http://schemas.openxmlformats.org/officeDocument/2006/relationships/image" Target="../media/image12.png"/><Relationship Id="rId5" Type="http://schemas.openxmlformats.org/officeDocument/2006/relationships/image" Target="../media/image25.png"/><Relationship Id="rId4" Type="http://schemas.openxmlformats.org/officeDocument/2006/relationships/image" Target="../media/image1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55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6" Type="http://schemas.openxmlformats.org/officeDocument/2006/relationships/image" Target="../media/image12.png"/><Relationship Id="rId5" Type="http://schemas.openxmlformats.org/officeDocument/2006/relationships/image" Target="../media/image26.png"/><Relationship Id="rId4" Type="http://schemas.openxmlformats.org/officeDocument/2006/relationships/image" Target="../media/image18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6" Type="http://schemas.openxmlformats.org/officeDocument/2006/relationships/image" Target="../media/image12.png"/><Relationship Id="rId5" Type="http://schemas.openxmlformats.org/officeDocument/2006/relationships/image" Target="../media/image26.png"/><Relationship Id="rId4" Type="http://schemas.openxmlformats.org/officeDocument/2006/relationships/image" Target="../media/image18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4" Type="http://schemas.openxmlformats.org/officeDocument/2006/relationships/image" Target="../media/image18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6" Type="http://schemas.openxmlformats.org/officeDocument/2006/relationships/image" Target="../media/image19.png"/><Relationship Id="rId5" Type="http://schemas.openxmlformats.org/officeDocument/2006/relationships/image" Target="../media/image27.png"/><Relationship Id="rId4" Type="http://schemas.openxmlformats.org/officeDocument/2006/relationships/image" Target="../media/image1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63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2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4" Type="http://schemas.openxmlformats.org/officeDocument/2006/relationships/image" Target="../media/image18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18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4" Type="http://schemas.openxmlformats.org/officeDocument/2006/relationships/image" Target="../media/image18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9.png"/><Relationship Id="rId2" Type="http://schemas.openxmlformats.org/officeDocument/2006/relationships/tags" Target="../tags/tag69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9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73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2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0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1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4" Type="http://schemas.openxmlformats.org/officeDocument/2006/relationships/image" Target="../media/image1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2.png"/><Relationship Id="rId2" Type="http://schemas.openxmlformats.org/officeDocument/2006/relationships/tags" Target="../tags/tag78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2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79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2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5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9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150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p.1 	Title section</a:t>
            </a:r>
          </a:p>
        </p:txBody>
      </p:sp>
      <p:sp>
        <p:nvSpPr>
          <p:cNvPr id="17" name="Espace réservé du numéro de diapositive 8">
            <a:extLst>
              <a:ext uri="{FF2B5EF4-FFF2-40B4-BE49-F238E27FC236}">
                <a16:creationId xmlns:a16="http://schemas.microsoft.com/office/drawing/2014/main" id="{B7365F2B-B792-0029-A3F8-A210E01F0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6147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541632" y="6309359"/>
            <a:ext cx="216027" cy="400812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693419" y="6509004"/>
            <a:ext cx="10568305" cy="0"/>
          </a:xfrm>
          <a:custGeom>
            <a:avLst/>
            <a:gdLst/>
            <a:ahLst/>
            <a:cxnLst/>
            <a:rect l="l" t="t" r="r" b="b"/>
            <a:pathLst>
              <a:path w="10568305">
                <a:moveTo>
                  <a:pt x="0" y="0"/>
                </a:moveTo>
                <a:lnTo>
                  <a:pt x="10568178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07C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2818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07C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5237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07C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723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541632" y="6309359"/>
            <a:ext cx="216027" cy="400812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693419" y="6509004"/>
            <a:ext cx="10568305" cy="0"/>
          </a:xfrm>
          <a:custGeom>
            <a:avLst/>
            <a:gdLst/>
            <a:ahLst/>
            <a:cxnLst/>
            <a:rect l="l" t="t" r="r" b="b"/>
            <a:pathLst>
              <a:path w="10568305">
                <a:moveTo>
                  <a:pt x="0" y="0"/>
                </a:moveTo>
                <a:lnTo>
                  <a:pt x="10568178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11" y="266445"/>
            <a:ext cx="2039747" cy="274319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356209" y="502538"/>
            <a:ext cx="1903730" cy="12700"/>
          </a:xfrm>
          <a:custGeom>
            <a:avLst/>
            <a:gdLst/>
            <a:ahLst/>
            <a:cxnLst/>
            <a:rect l="l" t="t" r="r" b="b"/>
            <a:pathLst>
              <a:path w="1903730" h="12700">
                <a:moveTo>
                  <a:pt x="1903501" y="0"/>
                </a:moveTo>
                <a:lnTo>
                  <a:pt x="0" y="0"/>
                </a:lnTo>
                <a:lnTo>
                  <a:pt x="0" y="12191"/>
                </a:lnTo>
                <a:lnTo>
                  <a:pt x="1903501" y="12191"/>
                </a:lnTo>
                <a:lnTo>
                  <a:pt x="1903501" y="0"/>
                </a:lnTo>
                <a:close/>
              </a:path>
            </a:pathLst>
          </a:custGeom>
          <a:solidFill>
            <a:srgbClr val="007A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11" y="760476"/>
            <a:ext cx="228599" cy="274320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11" y="760476"/>
            <a:ext cx="1231392" cy="274320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5310" y="760476"/>
            <a:ext cx="3525266" cy="274320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8909" y="760476"/>
            <a:ext cx="1297939" cy="274320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11" y="1007364"/>
            <a:ext cx="301752" cy="274320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11" y="1007364"/>
            <a:ext cx="359664" cy="274320"/>
          </a:xfrm>
          <a:prstGeom prst="rect">
            <a:avLst/>
          </a:prstGeom>
        </p:spPr>
      </p:pic>
      <p:pic>
        <p:nvPicPr>
          <p:cNvPr id="26" name="bg object 26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47" y="1007364"/>
            <a:ext cx="1034796" cy="274320"/>
          </a:xfrm>
          <a:prstGeom prst="rect">
            <a:avLst/>
          </a:prstGeom>
        </p:spPr>
      </p:pic>
      <p:pic>
        <p:nvPicPr>
          <p:cNvPr id="27" name="bg object 2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222" y="1007364"/>
            <a:ext cx="354330" cy="274320"/>
          </a:xfrm>
          <a:prstGeom prst="rect">
            <a:avLst/>
          </a:prstGeom>
        </p:spPr>
      </p:pic>
      <p:pic>
        <p:nvPicPr>
          <p:cNvPr id="28" name="bg object 28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8276" y="1007364"/>
            <a:ext cx="1520571" cy="274320"/>
          </a:xfrm>
          <a:prstGeom prst="rect">
            <a:avLst/>
          </a:prstGeom>
        </p:spPr>
      </p:pic>
      <p:pic>
        <p:nvPicPr>
          <p:cNvPr id="29" name="bg object 29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7411" y="1007364"/>
            <a:ext cx="2739898" cy="274320"/>
          </a:xfrm>
          <a:prstGeom prst="rect">
            <a:avLst/>
          </a:prstGeom>
        </p:spPr>
      </p:pic>
      <p:pic>
        <p:nvPicPr>
          <p:cNvPr id="30" name="bg object 30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11" y="1254252"/>
            <a:ext cx="2654681" cy="274320"/>
          </a:xfrm>
          <a:prstGeom prst="rect">
            <a:avLst/>
          </a:prstGeom>
        </p:spPr>
      </p:pic>
      <p:pic>
        <p:nvPicPr>
          <p:cNvPr id="31" name="bg object 31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11" y="1501140"/>
            <a:ext cx="304038" cy="274320"/>
          </a:xfrm>
          <a:prstGeom prst="rect">
            <a:avLst/>
          </a:prstGeom>
        </p:spPr>
      </p:pic>
      <p:pic>
        <p:nvPicPr>
          <p:cNvPr id="32" name="bg object 32"/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11" y="1501140"/>
            <a:ext cx="3049905" cy="274320"/>
          </a:xfrm>
          <a:prstGeom prst="rect">
            <a:avLst/>
          </a:prstGeom>
        </p:spPr>
      </p:pic>
      <p:pic>
        <p:nvPicPr>
          <p:cNvPr id="33" name="bg object 33"/>
          <p:cNvPicPr/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120" y="1501140"/>
            <a:ext cx="185927" cy="274320"/>
          </a:xfrm>
          <a:prstGeom prst="rect">
            <a:avLst/>
          </a:prstGeom>
        </p:spPr>
      </p:pic>
      <p:pic>
        <p:nvPicPr>
          <p:cNvPr id="34" name="bg object 34"/>
          <p:cNvPicPr/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0084" y="1501140"/>
            <a:ext cx="794765" cy="274320"/>
          </a:xfrm>
          <a:prstGeom prst="rect">
            <a:avLst/>
          </a:prstGeom>
        </p:spPr>
      </p:pic>
      <p:pic>
        <p:nvPicPr>
          <p:cNvPr id="35" name="bg object 35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2864" y="1801368"/>
            <a:ext cx="4768596" cy="4687824"/>
          </a:xfrm>
          <a:prstGeom prst="rect">
            <a:avLst/>
          </a:prstGeom>
        </p:spPr>
      </p:pic>
      <p:pic>
        <p:nvPicPr>
          <p:cNvPr id="36" name="bg object 36"/>
          <p:cNvPicPr/>
          <p:nvPr/>
        </p:nvPicPr>
        <p:blipFill>
          <a:blip r:embed="rId20" cstate="print"/>
          <a:stretch>
            <a:fillRect/>
          </a:stretch>
        </p:blipFill>
        <p:spPr>
          <a:xfrm>
            <a:off x="6996684" y="553212"/>
            <a:ext cx="1208531" cy="120853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5483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12" y="1749213"/>
            <a:ext cx="10806575" cy="431149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7" name="Espace réservé du numéro de diapositive 8">
            <a:extLst>
              <a:ext uri="{FF2B5EF4-FFF2-40B4-BE49-F238E27FC236}">
                <a16:creationId xmlns:a16="http://schemas.microsoft.com/office/drawing/2014/main" id="{5BDF3EE6-C65B-FC77-96EE-5740F8A92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675912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B78703-5421-8D34-F342-E0D68DA7B59D}"/>
              </a:ext>
            </a:extLst>
          </p:cNvPr>
          <p:cNvSpPr/>
          <p:nvPr userDrawn="1"/>
        </p:nvSpPr>
        <p:spPr>
          <a:xfrm>
            <a:off x="394412" y="406400"/>
            <a:ext cx="11411507" cy="5748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A9BEEBD-FA10-7363-95F0-DFBC2C0C2F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3664" y="2032000"/>
            <a:ext cx="2793639" cy="2793639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 dirty="0"/>
              <a:t>Insert image 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7E7A3C7-97A9-0E37-7282-5CDBF1CA7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715" y="980574"/>
            <a:ext cx="6969685" cy="3367183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“Quote”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C3D7F63-055E-372F-51E5-005232A75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716" y="4518455"/>
            <a:ext cx="6969685" cy="1025493"/>
          </a:xfrm>
          <a:prstGeom prst="rect">
            <a:avLst/>
          </a:prstGeom>
        </p:spPr>
        <p:txBody>
          <a:bodyPr/>
          <a:lstStyle>
            <a:lvl1pPr>
              <a:defRPr sz="1800" b="1" i="0" cap="none" spc="0">
                <a:ln w="0"/>
                <a:solidFill>
                  <a:schemeClr val="tx2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Author</a:t>
            </a:r>
            <a:endParaRPr lang="en-US" dirty="0"/>
          </a:p>
        </p:txBody>
      </p:sp>
      <p:sp>
        <p:nvSpPr>
          <p:cNvPr id="20" name="Espace réservé du numéro de diapositive 8">
            <a:extLst>
              <a:ext uri="{FF2B5EF4-FFF2-40B4-BE49-F238E27FC236}">
                <a16:creationId xmlns:a16="http://schemas.microsoft.com/office/drawing/2014/main" id="{8AE52DD2-7FC2-5BA3-B052-1067BB3F3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F6123BEC-2D68-D642-42FC-9DE86BC16EB9}"/>
              </a:ext>
            </a:extLst>
          </p:cNvPr>
          <p:cNvCxnSpPr>
            <a:cxnSpLocks/>
          </p:cNvCxnSpPr>
          <p:nvPr userDrawn="1"/>
        </p:nvCxnSpPr>
        <p:spPr>
          <a:xfrm>
            <a:off x="394412" y="6509583"/>
            <a:ext cx="108667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62905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8067554" y="555171"/>
            <a:ext cx="0" cy="531772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398761"/>
            <a:ext cx="3201493" cy="319517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78782D-3468-F382-9D8B-9B59A3659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8163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9B54EFC-B9B4-7355-F5AA-F41DAE8ED7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9525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4ACA963-A92C-2A5E-2878-DC460F1736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63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32EBC37-7E9E-B538-4A88-CDEEB2865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9525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E9F5D185-4CC4-679B-6895-C93296AF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407402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p.1 	Title section</a:t>
            </a:r>
          </a:p>
        </p:txBody>
      </p:sp>
      <p:sp>
        <p:nvSpPr>
          <p:cNvPr id="17" name="Espace réservé du numéro de diapositive 8">
            <a:extLst>
              <a:ext uri="{FF2B5EF4-FFF2-40B4-BE49-F238E27FC236}">
                <a16:creationId xmlns:a16="http://schemas.microsoft.com/office/drawing/2014/main" id="{B7365F2B-B792-0029-A3F8-A210E01F0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0954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 32">
            <a:extLst>
              <a:ext uri="{FF2B5EF4-FFF2-40B4-BE49-F238E27FC236}">
                <a16:creationId xmlns:a16="http://schemas.microsoft.com/office/drawing/2014/main" id="{E69FE3F9-7503-B8BF-5AF5-34C3EDF8FA3C}"/>
              </a:ext>
            </a:extLst>
          </p:cNvPr>
          <p:cNvSpPr/>
          <p:nvPr userDrawn="1"/>
        </p:nvSpPr>
        <p:spPr>
          <a:xfrm>
            <a:off x="1" y="-3"/>
            <a:ext cx="5715421" cy="6858449"/>
          </a:xfrm>
          <a:custGeom>
            <a:avLst/>
            <a:gdLst>
              <a:gd name="connsiteX0" fmla="*/ 0 w 5715421"/>
              <a:gd name="connsiteY0" fmla="*/ 0 h 6858449"/>
              <a:gd name="connsiteX1" fmla="*/ 4795519 w 5715421"/>
              <a:gd name="connsiteY1" fmla="*/ 0 h 6858449"/>
              <a:gd name="connsiteX2" fmla="*/ 4795519 w 5715421"/>
              <a:gd name="connsiteY2" fmla="*/ 3 h 6858449"/>
              <a:gd name="connsiteX3" fmla="*/ 4854911 w 5715421"/>
              <a:gd name="connsiteY3" fmla="*/ 3 h 6858449"/>
              <a:gd name="connsiteX4" fmla="*/ 5715421 w 5715421"/>
              <a:gd name="connsiteY4" fmla="*/ 3 h 6858449"/>
              <a:gd name="connsiteX5" fmla="*/ 5708685 w 5715421"/>
              <a:gd name="connsiteY5" fmla="*/ 14160 h 6858449"/>
              <a:gd name="connsiteX6" fmla="*/ 4919200 w 5715421"/>
              <a:gd name="connsiteY6" fmla="*/ 3464564 h 6858449"/>
              <a:gd name="connsiteX7" fmla="*/ 5638396 w 5715421"/>
              <a:gd name="connsiteY7" fmla="*/ 6707689 h 6858449"/>
              <a:gd name="connsiteX8" fmla="*/ 5707693 w 5715421"/>
              <a:gd name="connsiteY8" fmla="*/ 6858003 h 6858449"/>
              <a:gd name="connsiteX9" fmla="*/ 4854911 w 5715421"/>
              <a:gd name="connsiteY9" fmla="*/ 6858003 h 6858449"/>
              <a:gd name="connsiteX10" fmla="*/ 4854911 w 5715421"/>
              <a:gd name="connsiteY10" fmla="*/ 6858449 h 6858449"/>
              <a:gd name="connsiteX11" fmla="*/ 1303412 w 5715421"/>
              <a:gd name="connsiteY11" fmla="*/ 6858449 h 6858449"/>
              <a:gd name="connsiteX12" fmla="*/ 1303412 w 5715421"/>
              <a:gd name="connsiteY12" fmla="*/ 6857999 h 6858449"/>
              <a:gd name="connsiteX13" fmla="*/ 0 w 5715421"/>
              <a:gd name="connsiteY13" fmla="*/ 6857999 h 685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15421" h="6858449">
                <a:moveTo>
                  <a:pt x="0" y="0"/>
                </a:moveTo>
                <a:lnTo>
                  <a:pt x="4795519" y="0"/>
                </a:lnTo>
                <a:lnTo>
                  <a:pt x="4795519" y="3"/>
                </a:lnTo>
                <a:lnTo>
                  <a:pt x="4854911" y="3"/>
                </a:lnTo>
                <a:lnTo>
                  <a:pt x="5715421" y="3"/>
                </a:lnTo>
                <a:lnTo>
                  <a:pt x="5708685" y="14160"/>
                </a:lnTo>
                <a:cubicBezTo>
                  <a:pt x="5441985" y="591062"/>
                  <a:pt x="4915768" y="1940164"/>
                  <a:pt x="4919200" y="3464564"/>
                </a:cubicBezTo>
                <a:cubicBezTo>
                  <a:pt x="4922345" y="4861931"/>
                  <a:pt x="5361351" y="6086257"/>
                  <a:pt x="5638396" y="6707689"/>
                </a:cubicBezTo>
                <a:lnTo>
                  <a:pt x="5707693" y="6858003"/>
                </a:lnTo>
                <a:lnTo>
                  <a:pt x="4854911" y="6858003"/>
                </a:lnTo>
                <a:lnTo>
                  <a:pt x="4854911" y="6858449"/>
                </a:lnTo>
                <a:lnTo>
                  <a:pt x="1303412" y="6858449"/>
                </a:lnTo>
                <a:lnTo>
                  <a:pt x="1303412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576" y="3312436"/>
            <a:ext cx="5483627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751981"/>
            <a:ext cx="3931600" cy="249316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3729" y="3429446"/>
            <a:ext cx="5467232" cy="23878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00" b="1" i="0" cap="none" spc="0">
                <a:ln w="0"/>
                <a:solidFill>
                  <a:schemeClr val="bg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3577" y="751981"/>
            <a:ext cx="5467794" cy="2493166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50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31" name="Espace réservé du numéro de diapositive 8">
            <a:extLst>
              <a:ext uri="{FF2B5EF4-FFF2-40B4-BE49-F238E27FC236}">
                <a16:creationId xmlns:a16="http://schemas.microsoft.com/office/drawing/2014/main" id="{38FF2A18-F7E4-9591-AAAB-D39E635AB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9135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CA8CEF-8539-5F2D-63F8-506B97CBF21E}"/>
              </a:ext>
            </a:extLst>
          </p:cNvPr>
          <p:cNvSpPr/>
          <p:nvPr userDrawn="1"/>
        </p:nvSpPr>
        <p:spPr>
          <a:xfrm>
            <a:off x="-160892" y="0"/>
            <a:ext cx="79868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BE36239A-D55A-E3FD-678E-2C83E0150EA2}"/>
              </a:ext>
            </a:extLst>
          </p:cNvPr>
          <p:cNvSpPr/>
          <p:nvPr userDrawn="1"/>
        </p:nvSpPr>
        <p:spPr>
          <a:xfrm flipV="1">
            <a:off x="7037525" y="0"/>
            <a:ext cx="5154475" cy="6857999"/>
          </a:xfrm>
          <a:custGeom>
            <a:avLst/>
            <a:gdLst>
              <a:gd name="connsiteX0" fmla="*/ 796238 w 5154475"/>
              <a:gd name="connsiteY0" fmla="*/ 6857999 h 6857999"/>
              <a:gd name="connsiteX1" fmla="*/ 5154475 w 5154475"/>
              <a:gd name="connsiteY1" fmla="*/ 6857999 h 6857999"/>
              <a:gd name="connsiteX2" fmla="*/ 5154475 w 5154475"/>
              <a:gd name="connsiteY2" fmla="*/ 0 h 6857999"/>
              <a:gd name="connsiteX3" fmla="*/ 788510 w 5154475"/>
              <a:gd name="connsiteY3" fmla="*/ 0 h 6857999"/>
              <a:gd name="connsiteX4" fmla="*/ 719213 w 5154475"/>
              <a:gd name="connsiteY4" fmla="*/ 150313 h 6857999"/>
              <a:gd name="connsiteX5" fmla="*/ 17 w 5154475"/>
              <a:gd name="connsiteY5" fmla="*/ 3393438 h 6857999"/>
              <a:gd name="connsiteX6" fmla="*/ 789502 w 5154475"/>
              <a:gd name="connsiteY6" fmla="*/ 684384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4475" h="6857999">
                <a:moveTo>
                  <a:pt x="796238" y="6857999"/>
                </a:moveTo>
                <a:lnTo>
                  <a:pt x="5154475" y="6857999"/>
                </a:lnTo>
                <a:lnTo>
                  <a:pt x="5154475" y="0"/>
                </a:lnTo>
                <a:lnTo>
                  <a:pt x="788510" y="0"/>
                </a:lnTo>
                <a:lnTo>
                  <a:pt x="719213" y="150313"/>
                </a:lnTo>
                <a:cubicBezTo>
                  <a:pt x="442168" y="771745"/>
                  <a:pt x="3162" y="1996071"/>
                  <a:pt x="17" y="3393438"/>
                </a:cubicBezTo>
                <a:cubicBezTo>
                  <a:pt x="-3415" y="4917838"/>
                  <a:pt x="522802" y="6266940"/>
                  <a:pt x="789502" y="6843842"/>
                </a:cubicBezTo>
                <a:close/>
              </a:path>
            </a:pathLst>
          </a:custGeom>
          <a:solidFill>
            <a:srgbClr val="007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691200" y="3312436"/>
            <a:ext cx="5775606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4848" y="1084085"/>
            <a:ext cx="3424596" cy="2161064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183" y="3429447"/>
            <a:ext cx="5737601" cy="155969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00" b="1" i="0" cap="none" spc="0">
                <a:ln w="0"/>
                <a:solidFill>
                  <a:schemeClr val="bg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200" y="1084085"/>
            <a:ext cx="5737601" cy="2161062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50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288BE8F-9174-D47B-5E57-0F7624A653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2156"/>
          <a:stretch/>
        </p:blipFill>
        <p:spPr>
          <a:xfrm>
            <a:off x="11511279" y="6308809"/>
            <a:ext cx="245667" cy="403200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DC79F05A-DFA6-66E8-5BEC-079A955057C3}"/>
              </a:ext>
            </a:extLst>
          </p:cNvPr>
          <p:cNvCxnSpPr>
            <a:cxnSpLocks/>
          </p:cNvCxnSpPr>
          <p:nvPr userDrawn="1"/>
        </p:nvCxnSpPr>
        <p:spPr>
          <a:xfrm>
            <a:off x="0" y="6509583"/>
            <a:ext cx="112611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4187916B-E1BD-5589-DE61-93D096AF2C07}"/>
              </a:ext>
            </a:extLst>
          </p:cNvPr>
          <p:cNvSpPr txBox="1">
            <a:spLocks/>
          </p:cNvSpPr>
          <p:nvPr userDrawn="1"/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A75652-2DD9-2242-928B-C4408E21A69B}" type="slidenum">
              <a:rPr lang="en-GB" smtClean="0">
                <a:solidFill>
                  <a:schemeClr val="tx2"/>
                </a:solidFill>
                <a:latin typeface="+mj-lt"/>
              </a:rPr>
              <a:pPr/>
              <a:t>‹#›</a:t>
            </a:fld>
            <a:endParaRPr lang="en-GB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30295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 32">
            <a:extLst>
              <a:ext uri="{FF2B5EF4-FFF2-40B4-BE49-F238E27FC236}">
                <a16:creationId xmlns:a16="http://schemas.microsoft.com/office/drawing/2014/main" id="{E69FE3F9-7503-B8BF-5AF5-34C3EDF8FA3C}"/>
              </a:ext>
            </a:extLst>
          </p:cNvPr>
          <p:cNvSpPr/>
          <p:nvPr userDrawn="1"/>
        </p:nvSpPr>
        <p:spPr>
          <a:xfrm>
            <a:off x="1" y="-3"/>
            <a:ext cx="5715421" cy="6858449"/>
          </a:xfrm>
          <a:custGeom>
            <a:avLst/>
            <a:gdLst>
              <a:gd name="connsiteX0" fmla="*/ 0 w 5715421"/>
              <a:gd name="connsiteY0" fmla="*/ 0 h 6858449"/>
              <a:gd name="connsiteX1" fmla="*/ 4795519 w 5715421"/>
              <a:gd name="connsiteY1" fmla="*/ 0 h 6858449"/>
              <a:gd name="connsiteX2" fmla="*/ 4795519 w 5715421"/>
              <a:gd name="connsiteY2" fmla="*/ 3 h 6858449"/>
              <a:gd name="connsiteX3" fmla="*/ 4854911 w 5715421"/>
              <a:gd name="connsiteY3" fmla="*/ 3 h 6858449"/>
              <a:gd name="connsiteX4" fmla="*/ 5715421 w 5715421"/>
              <a:gd name="connsiteY4" fmla="*/ 3 h 6858449"/>
              <a:gd name="connsiteX5" fmla="*/ 5708685 w 5715421"/>
              <a:gd name="connsiteY5" fmla="*/ 14160 h 6858449"/>
              <a:gd name="connsiteX6" fmla="*/ 4919200 w 5715421"/>
              <a:gd name="connsiteY6" fmla="*/ 3464564 h 6858449"/>
              <a:gd name="connsiteX7" fmla="*/ 5638396 w 5715421"/>
              <a:gd name="connsiteY7" fmla="*/ 6707689 h 6858449"/>
              <a:gd name="connsiteX8" fmla="*/ 5707693 w 5715421"/>
              <a:gd name="connsiteY8" fmla="*/ 6858003 h 6858449"/>
              <a:gd name="connsiteX9" fmla="*/ 4854911 w 5715421"/>
              <a:gd name="connsiteY9" fmla="*/ 6858003 h 6858449"/>
              <a:gd name="connsiteX10" fmla="*/ 4854911 w 5715421"/>
              <a:gd name="connsiteY10" fmla="*/ 6858449 h 6858449"/>
              <a:gd name="connsiteX11" fmla="*/ 1303412 w 5715421"/>
              <a:gd name="connsiteY11" fmla="*/ 6858449 h 6858449"/>
              <a:gd name="connsiteX12" fmla="*/ 1303412 w 5715421"/>
              <a:gd name="connsiteY12" fmla="*/ 6857999 h 6858449"/>
              <a:gd name="connsiteX13" fmla="*/ 0 w 5715421"/>
              <a:gd name="connsiteY13" fmla="*/ 6857999 h 685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15421" h="6858449">
                <a:moveTo>
                  <a:pt x="0" y="0"/>
                </a:moveTo>
                <a:lnTo>
                  <a:pt x="4795519" y="0"/>
                </a:lnTo>
                <a:lnTo>
                  <a:pt x="4795519" y="3"/>
                </a:lnTo>
                <a:lnTo>
                  <a:pt x="4854911" y="3"/>
                </a:lnTo>
                <a:lnTo>
                  <a:pt x="5715421" y="3"/>
                </a:lnTo>
                <a:lnTo>
                  <a:pt x="5708685" y="14160"/>
                </a:lnTo>
                <a:cubicBezTo>
                  <a:pt x="5441985" y="591062"/>
                  <a:pt x="4915768" y="1940164"/>
                  <a:pt x="4919200" y="3464564"/>
                </a:cubicBezTo>
                <a:cubicBezTo>
                  <a:pt x="4922345" y="4861931"/>
                  <a:pt x="5361351" y="6086257"/>
                  <a:pt x="5638396" y="6707689"/>
                </a:cubicBezTo>
                <a:lnTo>
                  <a:pt x="5707693" y="6858003"/>
                </a:lnTo>
                <a:lnTo>
                  <a:pt x="4854911" y="6858003"/>
                </a:lnTo>
                <a:lnTo>
                  <a:pt x="4854911" y="6858449"/>
                </a:lnTo>
                <a:lnTo>
                  <a:pt x="1303412" y="6858449"/>
                </a:lnTo>
                <a:lnTo>
                  <a:pt x="1303412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576" y="3312436"/>
            <a:ext cx="5483627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751981"/>
            <a:ext cx="3931600" cy="249316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3729" y="3429446"/>
            <a:ext cx="5467232" cy="23878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00" b="1" i="0" cap="none" spc="0">
                <a:ln w="0"/>
                <a:solidFill>
                  <a:schemeClr val="bg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3577" y="751981"/>
            <a:ext cx="5467794" cy="2493166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50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31" name="Espace réservé du numéro de diapositive 8">
            <a:extLst>
              <a:ext uri="{FF2B5EF4-FFF2-40B4-BE49-F238E27FC236}">
                <a16:creationId xmlns:a16="http://schemas.microsoft.com/office/drawing/2014/main" id="{38FF2A18-F7E4-9591-AAAB-D39E635AB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7490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4385" y="1754293"/>
            <a:ext cx="10806575" cy="431149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7" name="Espace réservé du numéro de diapositive 8">
            <a:extLst>
              <a:ext uri="{FF2B5EF4-FFF2-40B4-BE49-F238E27FC236}">
                <a16:creationId xmlns:a16="http://schemas.microsoft.com/office/drawing/2014/main" id="{5BDF3EE6-C65B-FC77-96EE-5740F8A92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45111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B78703-5421-8D34-F342-E0D68DA7B59D}"/>
              </a:ext>
            </a:extLst>
          </p:cNvPr>
          <p:cNvSpPr/>
          <p:nvPr userDrawn="1"/>
        </p:nvSpPr>
        <p:spPr>
          <a:xfrm>
            <a:off x="394412" y="406400"/>
            <a:ext cx="11411507" cy="5748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A9BEEBD-FA10-7363-95F0-DFBC2C0C2F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3664" y="2032000"/>
            <a:ext cx="2793639" cy="2793639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7E7A3C7-97A9-0E37-7282-5CDBF1CA7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715" y="980574"/>
            <a:ext cx="6969685" cy="3367183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“Quote”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C3D7F63-055E-372F-51E5-005232A75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716" y="4518455"/>
            <a:ext cx="6969685" cy="1025493"/>
          </a:xfrm>
          <a:prstGeom prst="rect">
            <a:avLst/>
          </a:prstGeom>
        </p:spPr>
        <p:txBody>
          <a:bodyPr/>
          <a:lstStyle>
            <a:lvl1pPr>
              <a:defRPr sz="1800" b="1" i="0" cap="none" spc="0">
                <a:ln w="0"/>
                <a:solidFill>
                  <a:schemeClr val="tx2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Author</a:t>
            </a:r>
            <a:endParaRPr lang="en-US" dirty="0"/>
          </a:p>
        </p:txBody>
      </p:sp>
      <p:sp>
        <p:nvSpPr>
          <p:cNvPr id="20" name="Espace réservé du numéro de diapositive 8">
            <a:extLst>
              <a:ext uri="{FF2B5EF4-FFF2-40B4-BE49-F238E27FC236}">
                <a16:creationId xmlns:a16="http://schemas.microsoft.com/office/drawing/2014/main" id="{8AE52DD2-7FC2-5BA3-B052-1067BB3F3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F6123BEC-2D68-D642-42FC-9DE86BC16EB9}"/>
              </a:ext>
            </a:extLst>
          </p:cNvPr>
          <p:cNvCxnSpPr>
            <a:cxnSpLocks/>
          </p:cNvCxnSpPr>
          <p:nvPr userDrawn="1"/>
        </p:nvCxnSpPr>
        <p:spPr>
          <a:xfrm>
            <a:off x="394412" y="6509583"/>
            <a:ext cx="108667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39616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8067554" y="555171"/>
            <a:ext cx="0" cy="531772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398761"/>
            <a:ext cx="3201493" cy="319517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78782D-3468-F382-9D8B-9B59A3659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8163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9B54EFC-B9B4-7355-F5AA-F41DAE8ED7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9525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4ACA963-A92C-2A5E-2878-DC460F1736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63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32EBC37-7E9E-B538-4A88-CDEEB2865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9525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E9F5D185-4CC4-679B-6895-C93296AF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82508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p.1 	Title section</a:t>
            </a:r>
          </a:p>
        </p:txBody>
      </p:sp>
      <p:sp>
        <p:nvSpPr>
          <p:cNvPr id="17" name="Espace réservé du numéro de diapositive 8">
            <a:extLst>
              <a:ext uri="{FF2B5EF4-FFF2-40B4-BE49-F238E27FC236}">
                <a16:creationId xmlns:a16="http://schemas.microsoft.com/office/drawing/2014/main" id="{B7365F2B-B792-0029-A3F8-A210E01F0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775678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 32">
            <a:extLst>
              <a:ext uri="{FF2B5EF4-FFF2-40B4-BE49-F238E27FC236}">
                <a16:creationId xmlns:a16="http://schemas.microsoft.com/office/drawing/2014/main" id="{E69FE3F9-7503-B8BF-5AF5-34C3EDF8FA3C}"/>
              </a:ext>
            </a:extLst>
          </p:cNvPr>
          <p:cNvSpPr/>
          <p:nvPr userDrawn="1"/>
        </p:nvSpPr>
        <p:spPr>
          <a:xfrm>
            <a:off x="1" y="-3"/>
            <a:ext cx="5715421" cy="6858449"/>
          </a:xfrm>
          <a:custGeom>
            <a:avLst/>
            <a:gdLst>
              <a:gd name="connsiteX0" fmla="*/ 0 w 5715421"/>
              <a:gd name="connsiteY0" fmla="*/ 0 h 6858449"/>
              <a:gd name="connsiteX1" fmla="*/ 4795519 w 5715421"/>
              <a:gd name="connsiteY1" fmla="*/ 0 h 6858449"/>
              <a:gd name="connsiteX2" fmla="*/ 4795519 w 5715421"/>
              <a:gd name="connsiteY2" fmla="*/ 3 h 6858449"/>
              <a:gd name="connsiteX3" fmla="*/ 4854911 w 5715421"/>
              <a:gd name="connsiteY3" fmla="*/ 3 h 6858449"/>
              <a:gd name="connsiteX4" fmla="*/ 5715421 w 5715421"/>
              <a:gd name="connsiteY4" fmla="*/ 3 h 6858449"/>
              <a:gd name="connsiteX5" fmla="*/ 5708685 w 5715421"/>
              <a:gd name="connsiteY5" fmla="*/ 14160 h 6858449"/>
              <a:gd name="connsiteX6" fmla="*/ 4919200 w 5715421"/>
              <a:gd name="connsiteY6" fmla="*/ 3464564 h 6858449"/>
              <a:gd name="connsiteX7" fmla="*/ 5638396 w 5715421"/>
              <a:gd name="connsiteY7" fmla="*/ 6707689 h 6858449"/>
              <a:gd name="connsiteX8" fmla="*/ 5707693 w 5715421"/>
              <a:gd name="connsiteY8" fmla="*/ 6858003 h 6858449"/>
              <a:gd name="connsiteX9" fmla="*/ 4854911 w 5715421"/>
              <a:gd name="connsiteY9" fmla="*/ 6858003 h 6858449"/>
              <a:gd name="connsiteX10" fmla="*/ 4854911 w 5715421"/>
              <a:gd name="connsiteY10" fmla="*/ 6858449 h 6858449"/>
              <a:gd name="connsiteX11" fmla="*/ 1303412 w 5715421"/>
              <a:gd name="connsiteY11" fmla="*/ 6858449 h 6858449"/>
              <a:gd name="connsiteX12" fmla="*/ 1303412 w 5715421"/>
              <a:gd name="connsiteY12" fmla="*/ 6857999 h 6858449"/>
              <a:gd name="connsiteX13" fmla="*/ 0 w 5715421"/>
              <a:gd name="connsiteY13" fmla="*/ 6857999 h 685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15421" h="6858449">
                <a:moveTo>
                  <a:pt x="0" y="0"/>
                </a:moveTo>
                <a:lnTo>
                  <a:pt x="4795519" y="0"/>
                </a:lnTo>
                <a:lnTo>
                  <a:pt x="4795519" y="3"/>
                </a:lnTo>
                <a:lnTo>
                  <a:pt x="4854911" y="3"/>
                </a:lnTo>
                <a:lnTo>
                  <a:pt x="5715421" y="3"/>
                </a:lnTo>
                <a:lnTo>
                  <a:pt x="5708685" y="14160"/>
                </a:lnTo>
                <a:cubicBezTo>
                  <a:pt x="5441985" y="591062"/>
                  <a:pt x="4915768" y="1940164"/>
                  <a:pt x="4919200" y="3464564"/>
                </a:cubicBezTo>
                <a:cubicBezTo>
                  <a:pt x="4922345" y="4861931"/>
                  <a:pt x="5361351" y="6086257"/>
                  <a:pt x="5638396" y="6707689"/>
                </a:cubicBezTo>
                <a:lnTo>
                  <a:pt x="5707693" y="6858003"/>
                </a:lnTo>
                <a:lnTo>
                  <a:pt x="4854911" y="6858003"/>
                </a:lnTo>
                <a:lnTo>
                  <a:pt x="4854911" y="6858449"/>
                </a:lnTo>
                <a:lnTo>
                  <a:pt x="1303412" y="6858449"/>
                </a:lnTo>
                <a:lnTo>
                  <a:pt x="1303412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576" y="3312436"/>
            <a:ext cx="5483627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751981"/>
            <a:ext cx="3931600" cy="249316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3729" y="3429446"/>
            <a:ext cx="5467232" cy="23878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 b="1" i="0" cap="none" spc="0">
                <a:ln w="0"/>
                <a:solidFill>
                  <a:schemeClr val="bg1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3577" y="751981"/>
            <a:ext cx="5467794" cy="2493166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350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31" name="Espace réservé du numéro de diapositive 8">
            <a:extLst>
              <a:ext uri="{FF2B5EF4-FFF2-40B4-BE49-F238E27FC236}">
                <a16:creationId xmlns:a16="http://schemas.microsoft.com/office/drawing/2014/main" id="{38FF2A18-F7E4-9591-AAAB-D39E635AB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8389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CA8CEF-8539-5F2D-63F8-506B97CBF21E}"/>
              </a:ext>
            </a:extLst>
          </p:cNvPr>
          <p:cNvSpPr/>
          <p:nvPr userDrawn="1"/>
        </p:nvSpPr>
        <p:spPr>
          <a:xfrm>
            <a:off x="-160892" y="0"/>
            <a:ext cx="79868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BE36239A-D55A-E3FD-678E-2C83E0150EA2}"/>
              </a:ext>
            </a:extLst>
          </p:cNvPr>
          <p:cNvSpPr/>
          <p:nvPr userDrawn="1"/>
        </p:nvSpPr>
        <p:spPr>
          <a:xfrm flipV="1">
            <a:off x="7037525" y="0"/>
            <a:ext cx="5154475" cy="6857999"/>
          </a:xfrm>
          <a:custGeom>
            <a:avLst/>
            <a:gdLst>
              <a:gd name="connsiteX0" fmla="*/ 796238 w 5154475"/>
              <a:gd name="connsiteY0" fmla="*/ 6857999 h 6857999"/>
              <a:gd name="connsiteX1" fmla="*/ 5154475 w 5154475"/>
              <a:gd name="connsiteY1" fmla="*/ 6857999 h 6857999"/>
              <a:gd name="connsiteX2" fmla="*/ 5154475 w 5154475"/>
              <a:gd name="connsiteY2" fmla="*/ 0 h 6857999"/>
              <a:gd name="connsiteX3" fmla="*/ 788510 w 5154475"/>
              <a:gd name="connsiteY3" fmla="*/ 0 h 6857999"/>
              <a:gd name="connsiteX4" fmla="*/ 719213 w 5154475"/>
              <a:gd name="connsiteY4" fmla="*/ 150313 h 6857999"/>
              <a:gd name="connsiteX5" fmla="*/ 17 w 5154475"/>
              <a:gd name="connsiteY5" fmla="*/ 3393438 h 6857999"/>
              <a:gd name="connsiteX6" fmla="*/ 789502 w 5154475"/>
              <a:gd name="connsiteY6" fmla="*/ 684384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4475" h="6857999">
                <a:moveTo>
                  <a:pt x="796238" y="6857999"/>
                </a:moveTo>
                <a:lnTo>
                  <a:pt x="5154475" y="6857999"/>
                </a:lnTo>
                <a:lnTo>
                  <a:pt x="5154475" y="0"/>
                </a:lnTo>
                <a:lnTo>
                  <a:pt x="788510" y="0"/>
                </a:lnTo>
                <a:lnTo>
                  <a:pt x="719213" y="150313"/>
                </a:lnTo>
                <a:cubicBezTo>
                  <a:pt x="442168" y="771745"/>
                  <a:pt x="3162" y="1996071"/>
                  <a:pt x="17" y="3393438"/>
                </a:cubicBezTo>
                <a:cubicBezTo>
                  <a:pt x="-3415" y="4917838"/>
                  <a:pt x="522802" y="6266940"/>
                  <a:pt x="789502" y="6843842"/>
                </a:cubicBezTo>
                <a:close/>
              </a:path>
            </a:pathLst>
          </a:custGeom>
          <a:solidFill>
            <a:srgbClr val="007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691200" y="3312436"/>
            <a:ext cx="5775606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4848" y="1084085"/>
            <a:ext cx="3424596" cy="2161064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183" y="3429447"/>
            <a:ext cx="5737601" cy="155969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 b="1" i="0" cap="none" spc="0">
                <a:ln w="0"/>
                <a:solidFill>
                  <a:schemeClr val="bg1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200" y="1084085"/>
            <a:ext cx="5737601" cy="2161062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350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288BE8F-9174-D47B-5E57-0F7624A653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11279" y="6308809"/>
            <a:ext cx="245667" cy="403200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DC79F05A-DFA6-66E8-5BEC-079A955057C3}"/>
              </a:ext>
            </a:extLst>
          </p:cNvPr>
          <p:cNvCxnSpPr>
            <a:cxnSpLocks/>
          </p:cNvCxnSpPr>
          <p:nvPr userDrawn="1"/>
        </p:nvCxnSpPr>
        <p:spPr>
          <a:xfrm>
            <a:off x="0" y="6509583"/>
            <a:ext cx="112611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4187916B-E1BD-5589-DE61-93D096AF2C07}"/>
              </a:ext>
            </a:extLst>
          </p:cNvPr>
          <p:cNvSpPr txBox="1">
            <a:spLocks/>
          </p:cNvSpPr>
          <p:nvPr userDrawn="1"/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A75652-2DD9-2242-928B-C4408E21A69B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3322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4FC355-61E7-D844-90C3-85757ED97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35D028-2968-8A4E-97B2-ED1785FF30DF}" type="datetimeFigureOut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7BFF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/11/2023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7BFF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29ED3-2D0C-8246-A659-36A4700D5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7BFF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F9099-712A-AA43-8435-344144CCA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9883C5-8BF5-7045-B432-E62EB57BDEB0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2175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12" y="1749213"/>
            <a:ext cx="10806575" cy="431149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7" name="Espace réservé du numéro de diapositive 8">
            <a:extLst>
              <a:ext uri="{FF2B5EF4-FFF2-40B4-BE49-F238E27FC236}">
                <a16:creationId xmlns:a16="http://schemas.microsoft.com/office/drawing/2014/main" id="{5BDF3EE6-C65B-FC77-96EE-5740F8A92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130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6357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0608764-0A3A-C135-67E1-8A7B67001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93792F-99DF-946C-52B7-3D6F2EFEDDA0}"/>
              </a:ext>
            </a:extLst>
          </p:cNvPr>
          <p:cNvSpPr/>
          <p:nvPr userDrawn="1"/>
        </p:nvSpPr>
        <p:spPr>
          <a:xfrm>
            <a:off x="0" y="0"/>
            <a:ext cx="12192000" cy="6868224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2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6CBDFA2-5AC4-CB55-E73F-4C444D9310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694400" y="9367259"/>
            <a:ext cx="1884124" cy="5692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755C594-7276-8242-3823-BB785DC27F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06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CA8CEF-8539-5F2D-63F8-506B97CBF21E}"/>
              </a:ext>
            </a:extLst>
          </p:cNvPr>
          <p:cNvSpPr/>
          <p:nvPr userDrawn="1"/>
        </p:nvSpPr>
        <p:spPr>
          <a:xfrm>
            <a:off x="-160892" y="0"/>
            <a:ext cx="79868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BE36239A-D55A-E3FD-678E-2C83E0150EA2}"/>
              </a:ext>
            </a:extLst>
          </p:cNvPr>
          <p:cNvSpPr/>
          <p:nvPr userDrawn="1"/>
        </p:nvSpPr>
        <p:spPr>
          <a:xfrm flipV="1">
            <a:off x="7037525" y="0"/>
            <a:ext cx="5154475" cy="6857999"/>
          </a:xfrm>
          <a:custGeom>
            <a:avLst/>
            <a:gdLst>
              <a:gd name="connsiteX0" fmla="*/ 796238 w 5154475"/>
              <a:gd name="connsiteY0" fmla="*/ 6857999 h 6857999"/>
              <a:gd name="connsiteX1" fmla="*/ 5154475 w 5154475"/>
              <a:gd name="connsiteY1" fmla="*/ 6857999 h 6857999"/>
              <a:gd name="connsiteX2" fmla="*/ 5154475 w 5154475"/>
              <a:gd name="connsiteY2" fmla="*/ 0 h 6857999"/>
              <a:gd name="connsiteX3" fmla="*/ 788510 w 5154475"/>
              <a:gd name="connsiteY3" fmla="*/ 0 h 6857999"/>
              <a:gd name="connsiteX4" fmla="*/ 719213 w 5154475"/>
              <a:gd name="connsiteY4" fmla="*/ 150313 h 6857999"/>
              <a:gd name="connsiteX5" fmla="*/ 17 w 5154475"/>
              <a:gd name="connsiteY5" fmla="*/ 3393438 h 6857999"/>
              <a:gd name="connsiteX6" fmla="*/ 789502 w 5154475"/>
              <a:gd name="connsiteY6" fmla="*/ 684384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4475" h="6857999">
                <a:moveTo>
                  <a:pt x="796238" y="6857999"/>
                </a:moveTo>
                <a:lnTo>
                  <a:pt x="5154475" y="6857999"/>
                </a:lnTo>
                <a:lnTo>
                  <a:pt x="5154475" y="0"/>
                </a:lnTo>
                <a:lnTo>
                  <a:pt x="788510" y="0"/>
                </a:lnTo>
                <a:lnTo>
                  <a:pt x="719213" y="150313"/>
                </a:lnTo>
                <a:cubicBezTo>
                  <a:pt x="442168" y="771745"/>
                  <a:pt x="3162" y="1996071"/>
                  <a:pt x="17" y="3393438"/>
                </a:cubicBezTo>
                <a:cubicBezTo>
                  <a:pt x="-3415" y="4917838"/>
                  <a:pt x="522802" y="6266940"/>
                  <a:pt x="789502" y="6843842"/>
                </a:cubicBezTo>
                <a:close/>
              </a:path>
            </a:pathLst>
          </a:custGeom>
          <a:solidFill>
            <a:srgbClr val="007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691200" y="3312436"/>
            <a:ext cx="5775606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4848" y="1084085"/>
            <a:ext cx="3424596" cy="2161064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183" y="3429447"/>
            <a:ext cx="5737601" cy="155969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800" b="1" i="0" cap="none" spc="0">
                <a:ln w="0"/>
                <a:solidFill>
                  <a:schemeClr val="bg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200" y="1084085"/>
            <a:ext cx="5737601" cy="2161062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50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288BE8F-9174-D47B-5E57-0F7624A653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79" y="6308809"/>
            <a:ext cx="245667" cy="403200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DC79F05A-DFA6-66E8-5BEC-079A955057C3}"/>
              </a:ext>
            </a:extLst>
          </p:cNvPr>
          <p:cNvCxnSpPr>
            <a:cxnSpLocks/>
          </p:cNvCxnSpPr>
          <p:nvPr userDrawn="1"/>
        </p:nvCxnSpPr>
        <p:spPr>
          <a:xfrm>
            <a:off x="0" y="6509583"/>
            <a:ext cx="112611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4187916B-E1BD-5589-DE61-93D096AF2C07}"/>
              </a:ext>
            </a:extLst>
          </p:cNvPr>
          <p:cNvSpPr txBox="1">
            <a:spLocks/>
          </p:cNvSpPr>
          <p:nvPr userDrawn="1"/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A75652-2DD9-2242-928B-C4408E21A69B}" type="slidenum">
              <a:rPr lang="en-GB" smtClean="0">
                <a:solidFill>
                  <a:schemeClr val="tx2"/>
                </a:solidFill>
                <a:latin typeface="+mj-lt"/>
              </a:rPr>
              <a:pPr/>
              <a:t>‹#›</a:t>
            </a:fld>
            <a:endParaRPr lang="en-GB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463844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55A025A-D44B-2AFF-51EE-5C9612F84A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9270" y="671160"/>
            <a:ext cx="5515680" cy="551568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67EF0CB-1014-81D3-0648-D8EAF2FFA1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05090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CF42B75-6BE2-77BF-4B4F-62ABF250E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7676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2EFB1EBA-F864-9DAB-E0E8-D55EC7CD81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6147CBE-B4A2-BD62-6574-08B0B229B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1" y="1053298"/>
            <a:ext cx="6326492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8A15A5-FBE9-95DC-8D91-E06D40154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2200" y="3486872"/>
            <a:ext cx="6326492" cy="1758896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A4B84276-4126-535F-A338-69FF00606E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2119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4385" y="1754293"/>
            <a:ext cx="10806575" cy="431149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7" name="Espace réservé du numéro de diapositive 8">
            <a:extLst>
              <a:ext uri="{FF2B5EF4-FFF2-40B4-BE49-F238E27FC236}">
                <a16:creationId xmlns:a16="http://schemas.microsoft.com/office/drawing/2014/main" id="{5BDF3EE6-C65B-FC77-96EE-5740F8A92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89220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B78703-5421-8D34-F342-E0D68DA7B59D}"/>
              </a:ext>
            </a:extLst>
          </p:cNvPr>
          <p:cNvSpPr/>
          <p:nvPr userDrawn="1"/>
        </p:nvSpPr>
        <p:spPr>
          <a:xfrm>
            <a:off x="394412" y="406400"/>
            <a:ext cx="11411507" cy="5748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A9BEEBD-FA10-7363-95F0-DFBC2C0C2F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3664" y="2032000"/>
            <a:ext cx="2793639" cy="2793639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7E7A3C7-97A9-0E37-7282-5CDBF1CA7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715" y="980574"/>
            <a:ext cx="6969685" cy="3367183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“Quote”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C3D7F63-055E-372F-51E5-005232A75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716" y="4518455"/>
            <a:ext cx="6969685" cy="1025493"/>
          </a:xfrm>
          <a:prstGeom prst="rect">
            <a:avLst/>
          </a:prstGeom>
        </p:spPr>
        <p:txBody>
          <a:bodyPr/>
          <a:lstStyle>
            <a:lvl1pPr>
              <a:defRPr sz="1800" b="1" i="0" cap="none" spc="0">
                <a:ln w="0"/>
                <a:solidFill>
                  <a:schemeClr val="tx2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Author</a:t>
            </a:r>
            <a:endParaRPr lang="en-US" dirty="0"/>
          </a:p>
        </p:txBody>
      </p:sp>
      <p:sp>
        <p:nvSpPr>
          <p:cNvPr id="20" name="Espace réservé du numéro de diapositive 8">
            <a:extLst>
              <a:ext uri="{FF2B5EF4-FFF2-40B4-BE49-F238E27FC236}">
                <a16:creationId xmlns:a16="http://schemas.microsoft.com/office/drawing/2014/main" id="{8AE52DD2-7FC2-5BA3-B052-1067BB3F3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F6123BEC-2D68-D642-42FC-9DE86BC16EB9}"/>
              </a:ext>
            </a:extLst>
          </p:cNvPr>
          <p:cNvCxnSpPr>
            <a:cxnSpLocks/>
          </p:cNvCxnSpPr>
          <p:nvPr userDrawn="1"/>
        </p:nvCxnSpPr>
        <p:spPr>
          <a:xfrm>
            <a:off x="394412" y="6509583"/>
            <a:ext cx="108667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8075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8067554" y="555171"/>
            <a:ext cx="0" cy="531772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398761"/>
            <a:ext cx="3201493" cy="319517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78782D-3468-F382-9D8B-9B59A3659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8163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9B54EFC-B9B4-7355-F5AA-F41DAE8ED7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9525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Gellix" pitchFamily="2" charset="77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4ACA963-A92C-2A5E-2878-DC460F1736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63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32EBC37-7E9E-B538-4A88-CDEEB2865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9525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E9F5D185-4CC4-679B-6895-C93296AF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410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Gellix" pitchFamily="50" charset="0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p.1 	Title section</a:t>
            </a:r>
          </a:p>
        </p:txBody>
      </p:sp>
      <p:sp>
        <p:nvSpPr>
          <p:cNvPr id="17" name="Espace réservé du numéro de diapositive 8">
            <a:extLst>
              <a:ext uri="{FF2B5EF4-FFF2-40B4-BE49-F238E27FC236}">
                <a16:creationId xmlns:a16="http://schemas.microsoft.com/office/drawing/2014/main" id="{B7365F2B-B792-0029-A3F8-A210E01F0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7593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 32">
            <a:extLst>
              <a:ext uri="{FF2B5EF4-FFF2-40B4-BE49-F238E27FC236}">
                <a16:creationId xmlns:a16="http://schemas.microsoft.com/office/drawing/2014/main" id="{E69FE3F9-7503-B8BF-5AF5-34C3EDF8FA3C}"/>
              </a:ext>
            </a:extLst>
          </p:cNvPr>
          <p:cNvSpPr/>
          <p:nvPr userDrawn="1"/>
        </p:nvSpPr>
        <p:spPr>
          <a:xfrm>
            <a:off x="1" y="-3"/>
            <a:ext cx="5715421" cy="6858449"/>
          </a:xfrm>
          <a:custGeom>
            <a:avLst/>
            <a:gdLst>
              <a:gd name="connsiteX0" fmla="*/ 0 w 5715421"/>
              <a:gd name="connsiteY0" fmla="*/ 0 h 6858449"/>
              <a:gd name="connsiteX1" fmla="*/ 4795519 w 5715421"/>
              <a:gd name="connsiteY1" fmla="*/ 0 h 6858449"/>
              <a:gd name="connsiteX2" fmla="*/ 4795519 w 5715421"/>
              <a:gd name="connsiteY2" fmla="*/ 3 h 6858449"/>
              <a:gd name="connsiteX3" fmla="*/ 4854911 w 5715421"/>
              <a:gd name="connsiteY3" fmla="*/ 3 h 6858449"/>
              <a:gd name="connsiteX4" fmla="*/ 5715421 w 5715421"/>
              <a:gd name="connsiteY4" fmla="*/ 3 h 6858449"/>
              <a:gd name="connsiteX5" fmla="*/ 5708685 w 5715421"/>
              <a:gd name="connsiteY5" fmla="*/ 14160 h 6858449"/>
              <a:gd name="connsiteX6" fmla="*/ 4919200 w 5715421"/>
              <a:gd name="connsiteY6" fmla="*/ 3464564 h 6858449"/>
              <a:gd name="connsiteX7" fmla="*/ 5638396 w 5715421"/>
              <a:gd name="connsiteY7" fmla="*/ 6707689 h 6858449"/>
              <a:gd name="connsiteX8" fmla="*/ 5707693 w 5715421"/>
              <a:gd name="connsiteY8" fmla="*/ 6858003 h 6858449"/>
              <a:gd name="connsiteX9" fmla="*/ 4854911 w 5715421"/>
              <a:gd name="connsiteY9" fmla="*/ 6858003 h 6858449"/>
              <a:gd name="connsiteX10" fmla="*/ 4854911 w 5715421"/>
              <a:gd name="connsiteY10" fmla="*/ 6858449 h 6858449"/>
              <a:gd name="connsiteX11" fmla="*/ 1303412 w 5715421"/>
              <a:gd name="connsiteY11" fmla="*/ 6858449 h 6858449"/>
              <a:gd name="connsiteX12" fmla="*/ 1303412 w 5715421"/>
              <a:gd name="connsiteY12" fmla="*/ 6857999 h 6858449"/>
              <a:gd name="connsiteX13" fmla="*/ 0 w 5715421"/>
              <a:gd name="connsiteY13" fmla="*/ 6857999 h 685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15421" h="6858449">
                <a:moveTo>
                  <a:pt x="0" y="0"/>
                </a:moveTo>
                <a:lnTo>
                  <a:pt x="4795519" y="0"/>
                </a:lnTo>
                <a:lnTo>
                  <a:pt x="4795519" y="3"/>
                </a:lnTo>
                <a:lnTo>
                  <a:pt x="4854911" y="3"/>
                </a:lnTo>
                <a:lnTo>
                  <a:pt x="5715421" y="3"/>
                </a:lnTo>
                <a:lnTo>
                  <a:pt x="5708685" y="14160"/>
                </a:lnTo>
                <a:cubicBezTo>
                  <a:pt x="5441985" y="591062"/>
                  <a:pt x="4915768" y="1940164"/>
                  <a:pt x="4919200" y="3464564"/>
                </a:cubicBezTo>
                <a:cubicBezTo>
                  <a:pt x="4922345" y="4861931"/>
                  <a:pt x="5361351" y="6086257"/>
                  <a:pt x="5638396" y="6707689"/>
                </a:cubicBezTo>
                <a:lnTo>
                  <a:pt x="5707693" y="6858003"/>
                </a:lnTo>
                <a:lnTo>
                  <a:pt x="4854911" y="6858003"/>
                </a:lnTo>
                <a:lnTo>
                  <a:pt x="4854911" y="6858449"/>
                </a:lnTo>
                <a:lnTo>
                  <a:pt x="1303412" y="6858449"/>
                </a:lnTo>
                <a:lnTo>
                  <a:pt x="1303412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576" y="3312436"/>
            <a:ext cx="5483627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751981"/>
            <a:ext cx="3931600" cy="249316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3729" y="3429446"/>
            <a:ext cx="5467232" cy="23878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 b="1" i="0" cap="none" spc="0">
                <a:ln w="0"/>
                <a:solidFill>
                  <a:schemeClr val="bg1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3577" y="751981"/>
            <a:ext cx="5467794" cy="2493166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350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31" name="Espace réservé du numéro de diapositive 8">
            <a:extLst>
              <a:ext uri="{FF2B5EF4-FFF2-40B4-BE49-F238E27FC236}">
                <a16:creationId xmlns:a16="http://schemas.microsoft.com/office/drawing/2014/main" id="{38FF2A18-F7E4-9591-AAAB-D39E635AB1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6283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CA8CEF-8539-5F2D-63F8-506B97CBF21E}"/>
              </a:ext>
            </a:extLst>
          </p:cNvPr>
          <p:cNvSpPr/>
          <p:nvPr userDrawn="1"/>
        </p:nvSpPr>
        <p:spPr>
          <a:xfrm>
            <a:off x="-160892" y="0"/>
            <a:ext cx="79868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BE36239A-D55A-E3FD-678E-2C83E0150EA2}"/>
              </a:ext>
            </a:extLst>
          </p:cNvPr>
          <p:cNvSpPr/>
          <p:nvPr userDrawn="1"/>
        </p:nvSpPr>
        <p:spPr>
          <a:xfrm flipV="1">
            <a:off x="7037525" y="0"/>
            <a:ext cx="5154475" cy="6857999"/>
          </a:xfrm>
          <a:custGeom>
            <a:avLst/>
            <a:gdLst>
              <a:gd name="connsiteX0" fmla="*/ 796238 w 5154475"/>
              <a:gd name="connsiteY0" fmla="*/ 6857999 h 6857999"/>
              <a:gd name="connsiteX1" fmla="*/ 5154475 w 5154475"/>
              <a:gd name="connsiteY1" fmla="*/ 6857999 h 6857999"/>
              <a:gd name="connsiteX2" fmla="*/ 5154475 w 5154475"/>
              <a:gd name="connsiteY2" fmla="*/ 0 h 6857999"/>
              <a:gd name="connsiteX3" fmla="*/ 788510 w 5154475"/>
              <a:gd name="connsiteY3" fmla="*/ 0 h 6857999"/>
              <a:gd name="connsiteX4" fmla="*/ 719213 w 5154475"/>
              <a:gd name="connsiteY4" fmla="*/ 150313 h 6857999"/>
              <a:gd name="connsiteX5" fmla="*/ 17 w 5154475"/>
              <a:gd name="connsiteY5" fmla="*/ 3393438 h 6857999"/>
              <a:gd name="connsiteX6" fmla="*/ 789502 w 5154475"/>
              <a:gd name="connsiteY6" fmla="*/ 684384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4475" h="6857999">
                <a:moveTo>
                  <a:pt x="796238" y="6857999"/>
                </a:moveTo>
                <a:lnTo>
                  <a:pt x="5154475" y="6857999"/>
                </a:lnTo>
                <a:lnTo>
                  <a:pt x="5154475" y="0"/>
                </a:lnTo>
                <a:lnTo>
                  <a:pt x="788510" y="0"/>
                </a:lnTo>
                <a:lnTo>
                  <a:pt x="719213" y="150313"/>
                </a:lnTo>
                <a:cubicBezTo>
                  <a:pt x="442168" y="771745"/>
                  <a:pt x="3162" y="1996071"/>
                  <a:pt x="17" y="3393438"/>
                </a:cubicBezTo>
                <a:cubicBezTo>
                  <a:pt x="-3415" y="4917838"/>
                  <a:pt x="522802" y="6266940"/>
                  <a:pt x="789502" y="6843842"/>
                </a:cubicBezTo>
                <a:close/>
              </a:path>
            </a:pathLst>
          </a:custGeom>
          <a:solidFill>
            <a:srgbClr val="007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691200" y="3312436"/>
            <a:ext cx="5775606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4848" y="1084085"/>
            <a:ext cx="3424596" cy="2161064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r>
              <a:rPr lang="en-GB" dirty="0"/>
              <a:t>Text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183" y="3429447"/>
            <a:ext cx="5737601" cy="155969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 b="1" i="0" cap="none" spc="0">
                <a:ln w="0"/>
                <a:solidFill>
                  <a:schemeClr val="bg1"/>
                </a:solidFill>
                <a:effectLst/>
                <a:latin typeface="Gellix" pitchFamily="2" charset="77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Text</a:t>
            </a:r>
            <a:endParaRPr lang="en-US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200" y="1084085"/>
            <a:ext cx="5737601" cy="2161062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350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1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288BE8F-9174-D47B-5E57-0F7624A653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79" y="6308809"/>
            <a:ext cx="245667" cy="403200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DC79F05A-DFA6-66E8-5BEC-079A955057C3}"/>
              </a:ext>
            </a:extLst>
          </p:cNvPr>
          <p:cNvCxnSpPr>
            <a:cxnSpLocks/>
          </p:cNvCxnSpPr>
          <p:nvPr userDrawn="1"/>
        </p:nvCxnSpPr>
        <p:spPr>
          <a:xfrm>
            <a:off x="0" y="6509583"/>
            <a:ext cx="112611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4187916B-E1BD-5589-DE61-93D096AF2C07}"/>
              </a:ext>
            </a:extLst>
          </p:cNvPr>
          <p:cNvSpPr txBox="1">
            <a:spLocks/>
          </p:cNvSpPr>
          <p:nvPr userDrawn="1"/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A75652-2DD9-2242-928B-C4408E21A69B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3511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F2819-D5B7-E39D-1FF9-FF3F6ECC3E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8B13EC-4F7C-B13E-B0F1-03788C2590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828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0608764-0A3A-C135-67E1-8A7B67001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93792F-99DF-946C-52B7-3D6F2EFEDDA0}"/>
              </a:ext>
            </a:extLst>
          </p:cNvPr>
          <p:cNvSpPr/>
          <p:nvPr userDrawn="1"/>
        </p:nvSpPr>
        <p:spPr>
          <a:xfrm>
            <a:off x="0" y="0"/>
            <a:ext cx="12192000" cy="6868224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2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6CBDFA2-5AC4-CB55-E73F-4C444D9310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94400" y="9367259"/>
            <a:ext cx="1884124" cy="5692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755C594-7276-8242-3823-BB785DC27F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8676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7DBD3C-3F30-4F39-89E2-AE64CC3B310F}"/>
              </a:ext>
            </a:extLst>
          </p:cNvPr>
          <p:cNvSpPr/>
          <p:nvPr userDrawn="1"/>
        </p:nvSpPr>
        <p:spPr>
          <a:xfrm>
            <a:off x="1" y="0"/>
            <a:ext cx="12192000" cy="68584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8925053-EF81-4329-9A58-881E01F6CE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3464944" cy="6858446"/>
          </a:xfrm>
          <a:prstGeom prst="rect">
            <a:avLst/>
          </a:prstGeom>
        </p:spPr>
      </p:pic>
      <p:pic>
        <p:nvPicPr>
          <p:cNvPr id="17" name="Image 4">
            <a:extLst>
              <a:ext uri="{FF2B5EF4-FFF2-40B4-BE49-F238E27FC236}">
                <a16:creationId xmlns:a16="http://schemas.microsoft.com/office/drawing/2014/main" id="{CC6B2196-E322-43BE-B4EA-368D8546E3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6934" y="5782878"/>
            <a:ext cx="1323063" cy="821778"/>
          </a:xfrm>
          <a:prstGeom prst="rect">
            <a:avLst/>
          </a:prstGeom>
        </p:spPr>
      </p:pic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7BE44387-C925-4882-999E-C5DCD3F171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rgbClr val="7F7F7F"/>
          </a:solidFill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4517-47D5-4098-B9A5-E27408E246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2" y="1053298"/>
            <a:ext cx="6326493" cy="2317831"/>
          </a:xfrm>
        </p:spPr>
        <p:txBody>
          <a:bodyPr vert="horz" lIns="91440" tIns="45720" rIns="91440" bIns="45720" anchor="b" anchorCtr="0">
            <a:noAutofit/>
          </a:bodyPr>
          <a:lstStyle>
            <a:lvl1pPr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0BFFC1B-57A6-4231-9AED-F237C66D88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42201" y="3486872"/>
            <a:ext cx="6326492" cy="1758896"/>
          </a:xfrm>
        </p:spPr>
        <p:txBody>
          <a:bodyPr lIns="91440" tIns="45720" rIns="91440" bIns="45720"/>
          <a:lstStyle>
            <a:lvl1pPr>
              <a:lnSpc>
                <a:spcPct val="100000"/>
              </a:lnSpc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996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2EFB1EBA-F864-9DAB-E0E8-D55EC7CD81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sz="28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6147CBE-B4A2-BD62-6574-08B0B229B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1" y="1053298"/>
            <a:ext cx="6326492" cy="2317831"/>
          </a:xfrm>
          <a:prstGeom prst="rect">
            <a:avLst/>
          </a:prstGeom>
        </p:spPr>
        <p:txBody>
          <a:bodyPr vert="horz" lIns="91440" tIns="45720" rIns="91440" anchor="b"/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8A15A5-FBE9-95DC-8D91-E06D40154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2200" y="3486872"/>
            <a:ext cx="6326492" cy="1758896"/>
          </a:xfrm>
          <a:prstGeom prst="rect">
            <a:avLst/>
          </a:prstGeom>
        </p:spPr>
        <p:txBody>
          <a:bodyPr lIns="91440" tIns="45720" rIns="91440"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/>
              <a:t>Subtit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37E3E8-B483-A43C-08E8-CEE2660C9B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  <p:pic>
        <p:nvPicPr>
          <p:cNvPr id="8" name="Image 9">
            <a:extLst>
              <a:ext uri="{FF2B5EF4-FFF2-40B4-BE49-F238E27FC236}">
                <a16:creationId xmlns:a16="http://schemas.microsoft.com/office/drawing/2014/main" id="{E158F1F5-2C8A-07A9-1AAF-49164AFE81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6934" y="5784191"/>
            <a:ext cx="1320949" cy="82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51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5FB78703-5421-8D34-F342-E0D68DA7B59D}"/>
              </a:ext>
            </a:extLst>
          </p:cNvPr>
          <p:cNvSpPr/>
          <p:nvPr userDrawn="1"/>
        </p:nvSpPr>
        <p:spPr>
          <a:xfrm>
            <a:off x="394412" y="406400"/>
            <a:ext cx="11411507" cy="5748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A9BEEBD-FA10-7363-95F0-DFBC2C0C2F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3664" y="2032000"/>
            <a:ext cx="2793639" cy="2793639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sz="2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7E7A3C7-97A9-0E37-7282-5CDBF1CA7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715" y="980574"/>
            <a:ext cx="6969685" cy="3367183"/>
          </a:xfrm>
          <a:prstGeom prst="rect">
            <a:avLst/>
          </a:prstGeom>
        </p:spPr>
        <p:txBody>
          <a:bodyPr vert="horz" lIns="91440" tIns="45720" rIns="91440" anchor="b"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“Quote”</a:t>
            </a:r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C3D7F63-055E-372F-51E5-005232A75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716" y="4518455"/>
            <a:ext cx="6969685" cy="1025493"/>
          </a:xfrm>
          <a:prstGeom prst="rect">
            <a:avLst/>
          </a:prstGeom>
        </p:spPr>
        <p:txBody>
          <a:bodyPr lIns="91440" tIns="45720" rIns="91440"/>
          <a:lstStyle>
            <a:lvl1pPr>
              <a:defRPr sz="1800" b="1" i="0" cap="none" spc="0">
                <a:ln w="0"/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/>
              <a:t>Auth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35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8067554" y="555171"/>
            <a:ext cx="0" cy="531772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398761"/>
            <a:ext cx="3201493" cy="3195178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78782D-3468-F382-9D8B-9B59A3659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8163" y="398761"/>
            <a:ext cx="3314700" cy="842427"/>
          </a:xfrm>
          <a:prstGeom prst="rect">
            <a:avLst/>
          </a:prstGeom>
        </p:spPr>
        <p:txBody>
          <a:bodyPr lIns="91440" tIns="45720" rIns="91440" bIns="45720"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/>
              <a:t>Subtitle</a:t>
            </a:r>
            <a:endParaRPr lang="en-US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9B54EFC-B9B4-7355-F5AA-F41DAE8ED7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9525" y="398761"/>
            <a:ext cx="3314700" cy="842427"/>
          </a:xfrm>
          <a:prstGeom prst="rect">
            <a:avLst/>
          </a:prstGeom>
        </p:spPr>
        <p:txBody>
          <a:bodyPr lIns="91440" tIns="45720" rIns="91440" bIns="45720"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/>
              <a:t>Subtitle</a:t>
            </a:r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4ACA963-A92C-2A5E-2878-DC460F1736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63" y="1368163"/>
            <a:ext cx="3314700" cy="4504736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32EBC37-7E9E-B538-4A88-CDEEB2865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9525" y="1368163"/>
            <a:ext cx="3314700" cy="4504736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3813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ontents</a:t>
            </a:r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/>
              <a:t>p.1 	Title section</a:t>
            </a:r>
          </a:p>
        </p:txBody>
      </p:sp>
    </p:spTree>
    <p:extLst>
      <p:ext uri="{BB962C8B-B14F-4D97-AF65-F5344CB8AC3E}">
        <p14:creationId xmlns:p14="http://schemas.microsoft.com/office/powerpoint/2010/main" val="114175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orme libre 32">
            <a:extLst>
              <a:ext uri="{FF2B5EF4-FFF2-40B4-BE49-F238E27FC236}">
                <a16:creationId xmlns:a16="http://schemas.microsoft.com/office/drawing/2014/main" id="{E69FE3F9-7503-B8BF-5AF5-34C3EDF8FA3C}"/>
              </a:ext>
            </a:extLst>
          </p:cNvPr>
          <p:cNvSpPr/>
          <p:nvPr userDrawn="1"/>
        </p:nvSpPr>
        <p:spPr>
          <a:xfrm>
            <a:off x="1" y="-3"/>
            <a:ext cx="5715421" cy="6858449"/>
          </a:xfrm>
          <a:custGeom>
            <a:avLst/>
            <a:gdLst>
              <a:gd name="connsiteX0" fmla="*/ 0 w 5715421"/>
              <a:gd name="connsiteY0" fmla="*/ 0 h 6858449"/>
              <a:gd name="connsiteX1" fmla="*/ 4795519 w 5715421"/>
              <a:gd name="connsiteY1" fmla="*/ 0 h 6858449"/>
              <a:gd name="connsiteX2" fmla="*/ 4795519 w 5715421"/>
              <a:gd name="connsiteY2" fmla="*/ 3 h 6858449"/>
              <a:gd name="connsiteX3" fmla="*/ 4854911 w 5715421"/>
              <a:gd name="connsiteY3" fmla="*/ 3 h 6858449"/>
              <a:gd name="connsiteX4" fmla="*/ 5715421 w 5715421"/>
              <a:gd name="connsiteY4" fmla="*/ 3 h 6858449"/>
              <a:gd name="connsiteX5" fmla="*/ 5708685 w 5715421"/>
              <a:gd name="connsiteY5" fmla="*/ 14160 h 6858449"/>
              <a:gd name="connsiteX6" fmla="*/ 4919200 w 5715421"/>
              <a:gd name="connsiteY6" fmla="*/ 3464564 h 6858449"/>
              <a:gd name="connsiteX7" fmla="*/ 5638396 w 5715421"/>
              <a:gd name="connsiteY7" fmla="*/ 6707689 h 6858449"/>
              <a:gd name="connsiteX8" fmla="*/ 5707693 w 5715421"/>
              <a:gd name="connsiteY8" fmla="*/ 6858003 h 6858449"/>
              <a:gd name="connsiteX9" fmla="*/ 4854911 w 5715421"/>
              <a:gd name="connsiteY9" fmla="*/ 6858003 h 6858449"/>
              <a:gd name="connsiteX10" fmla="*/ 4854911 w 5715421"/>
              <a:gd name="connsiteY10" fmla="*/ 6858449 h 6858449"/>
              <a:gd name="connsiteX11" fmla="*/ 1303412 w 5715421"/>
              <a:gd name="connsiteY11" fmla="*/ 6858449 h 6858449"/>
              <a:gd name="connsiteX12" fmla="*/ 1303412 w 5715421"/>
              <a:gd name="connsiteY12" fmla="*/ 6857999 h 6858449"/>
              <a:gd name="connsiteX13" fmla="*/ 0 w 5715421"/>
              <a:gd name="connsiteY13" fmla="*/ 6857999 h 6858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15421" h="6858449">
                <a:moveTo>
                  <a:pt x="0" y="0"/>
                </a:moveTo>
                <a:lnTo>
                  <a:pt x="4795519" y="0"/>
                </a:lnTo>
                <a:lnTo>
                  <a:pt x="4795519" y="3"/>
                </a:lnTo>
                <a:lnTo>
                  <a:pt x="4854911" y="3"/>
                </a:lnTo>
                <a:lnTo>
                  <a:pt x="5715421" y="3"/>
                </a:lnTo>
                <a:lnTo>
                  <a:pt x="5708685" y="14160"/>
                </a:lnTo>
                <a:cubicBezTo>
                  <a:pt x="5441985" y="591062"/>
                  <a:pt x="4915768" y="1940164"/>
                  <a:pt x="4919200" y="3464564"/>
                </a:cubicBezTo>
                <a:cubicBezTo>
                  <a:pt x="4922345" y="4861931"/>
                  <a:pt x="5361351" y="6086257"/>
                  <a:pt x="5638396" y="6707689"/>
                </a:cubicBezTo>
                <a:lnTo>
                  <a:pt x="5707693" y="6858003"/>
                </a:lnTo>
                <a:lnTo>
                  <a:pt x="4854911" y="6858003"/>
                </a:lnTo>
                <a:lnTo>
                  <a:pt x="4854911" y="6858449"/>
                </a:lnTo>
                <a:lnTo>
                  <a:pt x="1303412" y="6858449"/>
                </a:lnTo>
                <a:lnTo>
                  <a:pt x="1303412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6023576" y="3312436"/>
            <a:ext cx="5483627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751981"/>
            <a:ext cx="3931600" cy="2493165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Text</a:t>
            </a:r>
            <a:endParaRPr lang="en-US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024EDCD-994A-4E5E-10E1-E8EB9FE324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3729" y="3429446"/>
            <a:ext cx="5467232" cy="238781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0"/>
              </a:spcBef>
              <a:defRPr sz="1800" b="1" i="0" cap="none" spc="0">
                <a:ln w="0"/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/>
              <a:t>Text</a:t>
            </a:r>
            <a:endParaRPr lang="en-US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3936FB-8567-E71E-2B4D-CBEDE14E2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3577" y="751981"/>
            <a:ext cx="5467794" cy="2493166"/>
          </a:xfrm>
          <a:prstGeom prst="rect">
            <a:avLst/>
          </a:prstGeom>
        </p:spPr>
        <p:txBody>
          <a:bodyPr lIns="91440" tIns="45720" rIns="91440" bIns="45720" anchor="b"/>
          <a:lstStyle>
            <a:lvl1pPr>
              <a:spcBef>
                <a:spcPts val="0"/>
              </a:spcBef>
              <a:defRPr sz="3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6248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35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T Title and Tex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100000"/>
              </a:lnSpc>
              <a:defRPr sz="3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Title</a:t>
            </a:r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4385" y="1754293"/>
            <a:ext cx="10806575" cy="431149"/>
          </a:xfrm>
          <a:prstGeom prst="rect">
            <a:avLst/>
          </a:prstGeom>
        </p:spPr>
        <p:txBody>
          <a:bodyPr lIns="91440" tIns="45720" rIns="91440" bIns="45720"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/>
              <a:t>Subtitle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/>
              <a:t>Tex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586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0345B0-9E5A-4D03-B995-97D1557940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0345B0-9E5A-4D03-B995-97D155794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600" b="0" i="0" u="none" kern="1200" spc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454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558517-F1A9-4A74-B717-E79400A0F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558517-F1A9-4A74-B717-E79400A0F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0986" y="2312417"/>
            <a:ext cx="10650987" cy="37010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</p:spPr>
        <p:txBody>
          <a:bodyPr vert="horz"/>
          <a:lstStyle>
            <a:lvl1pPr>
              <a:defRPr sz="360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959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55A025A-D44B-2AFF-51EE-5C9612F84A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9270" y="671160"/>
            <a:ext cx="5515680" cy="551568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67EF0CB-1014-81D3-0648-D8EAF2FFA1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5268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E7C7E-BFF9-47E1-BB21-F3B3D59CB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E7C7E-BFF9-47E1-BB21-F3B3D59CB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91200" y="1544274"/>
            <a:ext cx="3391200" cy="1495794"/>
          </a:xfrm>
          <a:noFill/>
        </p:spPr>
        <p:txBody>
          <a:bodyPr vert="horz" wrap="square" lIns="91440" tIns="45720" rIns="91440" bIns="45720"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6528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B9FEC6-C0C0-460D-A3CD-166DA6E43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B9FEC6-C0C0-460D-A3CD-166DA6E43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tx2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699AF4-EB1A-49B6-AAD0-345D9A62D6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5D0D07-6B4B-40E0-AA8A-9CF62C5B9D66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54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E963C5-122A-4CD2-BFA4-1659A12D6A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E963C5-122A-4CD2-BFA4-1659A12D6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1200" y="3826800"/>
            <a:ext cx="10799759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790986" y="3680016"/>
            <a:ext cx="11404216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B7D0169C-1ECE-4BD7-84E4-1128330B8F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E61E726-D1C1-4945-894D-A48CCB253DDA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1180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A39D20-31DF-443A-972D-1918BEDEA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A39D20-31DF-443A-972D-1918BEDEA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accent6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2681103"/>
            <a:ext cx="30666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US" sz="3600" b="0" i="0" u="none" kern="1200" spc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668859-4461-4A95-A5E8-52B3F769A1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26BBCD7-9540-4641-984A-3C63F040086C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027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18529F-B071-426B-BBCB-B744969D3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3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18529F-B071-426B-BBCB-B744969D3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38C49A6-FDC8-496E-8459-52B228C27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B76320F-6483-478C-9912-BAB7A2F2970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063805" cy="60170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7219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0B5EB7-C578-4E98-B9D0-0884E7D7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0B5EB7-C578-4E98-B9D0-0884E7D7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2681103"/>
            <a:ext cx="30666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026E5AA-8F0C-4D04-9ECF-57FDF3CAF9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4AA5603-289B-41B0-AD9D-1DE6FFAE301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AD78FAA3-C1E2-4929-BA74-896DE7E25CCE}"/>
              </a:ext>
            </a:extLst>
          </p:cNvPr>
          <p:cNvCxnSpPr>
            <a:cxnSpLocks/>
          </p:cNvCxnSpPr>
          <p:nvPr userDrawn="1"/>
        </p:nvCxnSpPr>
        <p:spPr>
          <a:xfrm>
            <a:off x="4080763" y="6509583"/>
            <a:ext cx="7180361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47812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308510E-8281-4996-9824-2682F294D5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308510E-8281-4996-9824-2682F294D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1200" y="1785600"/>
            <a:ext cx="4327200" cy="3286800"/>
          </a:xfrm>
          <a:prstGeom prst="rect">
            <a:avLst/>
          </a:prstGeom>
          <a:noFill/>
        </p:spPr>
        <p:txBody>
          <a:bodyPr vert="horz" wrap="square" lIns="91440" tIns="45720" rIns="91440" bIns="45720" anchor="ctr">
            <a:noAutofit/>
          </a:bodyPr>
          <a:lstStyle>
            <a:lvl1pPr>
              <a:defRPr sz="4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B40A7DD-1CA6-43CA-A12A-FE3CAB9FD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05A6A53-0976-4DC1-8DED-9A05E1D026B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1E4BDAD5-AE28-4F3C-994C-DC78497DB44A}"/>
              </a:ext>
            </a:extLst>
          </p:cNvPr>
          <p:cNvCxnSpPr>
            <a:cxnSpLocks/>
          </p:cNvCxnSpPr>
          <p:nvPr userDrawn="1"/>
        </p:nvCxnSpPr>
        <p:spPr>
          <a:xfrm>
            <a:off x="6092021" y="6509583"/>
            <a:ext cx="5169103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721792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21112E-5858-4266-806D-A962E00E63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21112E-5858-4266-806D-A962E00E63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1200" y="1804650"/>
            <a:ext cx="61863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3F05DE7-32EA-417A-90D4-939A99F0F7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C868424-85F5-486C-9A01-B5D005949911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5222B749-D21B-4099-A97A-0F041002F0E5}"/>
              </a:ext>
            </a:extLst>
          </p:cNvPr>
          <p:cNvCxnSpPr>
            <a:cxnSpLocks/>
          </p:cNvCxnSpPr>
          <p:nvPr userDrawn="1"/>
        </p:nvCxnSpPr>
        <p:spPr>
          <a:xfrm>
            <a:off x="7819543" y="6509583"/>
            <a:ext cx="3441581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75515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E5F4DF-76AE-4C53-9622-773E28CD4D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E5F4DF-76AE-4C53-9622-773E28CD4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C5961044-A9FF-4E45-B306-185863FAC9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2764203"/>
            <a:ext cx="2417438" cy="1314311"/>
          </a:xfrm>
        </p:spPr>
        <p:txBody>
          <a:bodyPr vert="horz" anchor="ctr" anchorCtr="0"/>
          <a:lstStyle>
            <a:lvl1pPr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06FEAD2-32A8-47DF-A3F0-39CCE60FC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67C961A-167B-4B42-96A3-668E6CFDE996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995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2046FB-A7D2-4FC5-9AAB-3306C3080B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2046FB-A7D2-4FC5-9AAB-3306C3080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1200" y="2764203"/>
            <a:ext cx="2417438" cy="1314311"/>
          </a:xfrm>
        </p:spPr>
        <p:txBody>
          <a:bodyPr vert="horz" anchor="ctr" anchorCtr="0">
            <a:noAutofit/>
          </a:bodyPr>
          <a:lstStyle>
            <a:lvl1pPr>
              <a:defRPr sz="36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F935AF-482F-4691-94BA-1A03FE48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A91AF6E-5B11-4E6D-ADBF-556DCA52E699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ACD577ED-F7F6-4C88-99CF-4D287D68B505}"/>
              </a:ext>
            </a:extLst>
          </p:cNvPr>
          <p:cNvCxnSpPr>
            <a:cxnSpLocks/>
          </p:cNvCxnSpPr>
          <p:nvPr userDrawn="1"/>
        </p:nvCxnSpPr>
        <p:spPr>
          <a:xfrm>
            <a:off x="3295650" y="6509583"/>
            <a:ext cx="796547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11975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CF42B75-6BE2-77BF-4B4F-62ABF250E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336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1785600"/>
            <a:ext cx="40010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B5E092-22AE-41E2-B90B-D4E46AEB0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9A59422-23C1-4BDB-ADF1-263CEABACBE2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525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107E7A-555F-4D9A-B679-22DC2FFA9B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107E7A-555F-4D9A-B679-22DC2FFA9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1785600"/>
            <a:ext cx="40010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945C6C4-DABD-4922-94C7-E6A59422AC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145BA15-AF62-4AE5-A08A-028C5FB3871E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E808A62E-BAF8-44A7-B4FA-5C98FA668D47}"/>
              </a:ext>
            </a:extLst>
          </p:cNvPr>
          <p:cNvCxnSpPr>
            <a:cxnSpLocks/>
          </p:cNvCxnSpPr>
          <p:nvPr userDrawn="1"/>
        </p:nvCxnSpPr>
        <p:spPr>
          <a:xfrm>
            <a:off x="4792980" y="6509583"/>
            <a:ext cx="646814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5122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1A60B5-A416-4EB1-904B-F8737EC7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1A60B5-A416-4EB1-904B-F8737EC7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4612446" cy="601700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3600" b="0" i="0" u="none" kern="1200" spc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CC474A4-A41D-4DE3-92EB-1127CF727A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41B972B-295C-41A9-9AD1-A7534EEAC3A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024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CDEB05-E663-4671-84A1-D959878AE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918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CDEB05-E663-4671-84A1-D959878AE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ADEB77B-3321-4FF7-8085-0C7B96CFA8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1F4DC3B-3846-4150-AF70-BDC77B433D2A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Connecteur droit 9">
            <a:extLst>
              <a:ext uri="{FF2B5EF4-FFF2-40B4-BE49-F238E27FC236}">
                <a16:creationId xmlns:a16="http://schemas.microsoft.com/office/drawing/2014/main" id="{E0B41F6F-A12A-4A20-AE4E-04D8B022D436}"/>
              </a:ext>
            </a:extLst>
          </p:cNvPr>
          <p:cNvCxnSpPr>
            <a:cxnSpLocks/>
          </p:cNvCxnSpPr>
          <p:nvPr userDrawn="1"/>
        </p:nvCxnSpPr>
        <p:spPr>
          <a:xfrm>
            <a:off x="5646057" y="6509583"/>
            <a:ext cx="5615067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4612446" cy="601700"/>
          </a:xfrm>
        </p:spPr>
        <p:txBody>
          <a:bodyPr vert="horz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727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0B8E0A-5AF9-468C-857E-CBF118AB6B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45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0B8E0A-5AF9-468C-857E-CBF118AB6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494C4EC-F527-457E-AA95-C0ACE1719D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851A1C22-6D69-49FD-8606-51E3B2690F73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195600" cy="60170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59324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BEBD50-2D9C-45F6-9FC9-0CCB172A1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041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BEBD50-2D9C-45F6-9FC9-0CCB172A1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FE10D4D-93BD-413B-AEF1-6AE76B706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73C5179-08DC-4EB1-894C-71F8312974C4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6" name="Connecteur droit 9">
            <a:extLst>
              <a:ext uri="{FF2B5EF4-FFF2-40B4-BE49-F238E27FC236}">
                <a16:creationId xmlns:a16="http://schemas.microsoft.com/office/drawing/2014/main" id="{4A3B06C0-D1BE-4F3C-932B-EC55B2C8C783}"/>
              </a:ext>
            </a:extLst>
          </p:cNvPr>
          <p:cNvCxnSpPr>
            <a:cxnSpLocks/>
          </p:cNvCxnSpPr>
          <p:nvPr userDrawn="1"/>
        </p:nvCxnSpPr>
        <p:spPr>
          <a:xfrm>
            <a:off x="7736114" y="6509583"/>
            <a:ext cx="352501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195600" cy="601700"/>
          </a:xfrm>
        </p:spPr>
        <p:txBody>
          <a:bodyPr vert="horz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04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B3D1AD-C428-4A22-BF1C-6DE414CC68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B3D1AD-C428-4A22-BF1C-6DE414CC6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3826333"/>
            <a:ext cx="10799759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8385EA1-4B20-4F35-A717-2A34998086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D8E7B3-9DF8-4286-954A-92D24986B5C6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991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9ABBD2-CD71-4873-9840-91F74B06F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9ABBD2-CD71-4873-9840-91F74B06F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90986" y="625475"/>
            <a:ext cx="932688" cy="932688"/>
          </a:xfrm>
          <a:prstGeom prst="rect">
            <a:avLst/>
          </a:prstGeom>
          <a:noFill/>
          <a:ln>
            <a:solidFill>
              <a:srgbClr val="CCE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3826333"/>
            <a:ext cx="10799759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9408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3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73C8C1-E18D-490A-89EB-1F9B56DA2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5A42074-809C-453E-BB38-A228EEF2F478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2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666E5F-E895-488D-AFCD-0021E32FB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36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666E5F-E895-488D-AFCD-0021E32FB5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4814B105-5BDD-4C31-B77D-EDC2867C9D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CE509F1-BC40-4F24-B6BA-C11540FBFE1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31856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2EFB1EBA-F864-9DAB-E0E8-D55EC7CD81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6147CBE-B4A2-BD62-6574-08B0B229B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1" y="1053298"/>
            <a:ext cx="6326492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8A15A5-FBE9-95DC-8D91-E06D40154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2200" y="3486872"/>
            <a:ext cx="6326492" cy="1758896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A4B84276-4126-535F-A338-69FF00606E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8295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256CDD8-DDD7-418B-AD02-0EEFBBC38B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256CDD8-DDD7-418B-AD02-0EEFBBC38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52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7E3969-86AF-4172-A5D4-442EA5EAD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7E3969-86AF-4172-A5D4-442EA5EAD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F51E08-175B-4E82-BA41-AB0023190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16D9554-1EA7-415D-BA94-C67FE4B7F5C6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743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16BA5E-FF3A-4921-A879-086AE15D2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16BA5E-FF3A-4921-A879-086AE15D2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66F606-335F-4879-9C9B-8E9762A085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defRPr lang="en-US" sz="9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26910"/>
            <a:ext cx="3399554" cy="7986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4082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10D0CB2B-67CE-4A0B-B855-CFCF9190C707}"/>
              </a:ext>
            </a:extLst>
          </p:cNvPr>
          <p:cNvSpPr/>
          <p:nvPr userDrawn="1"/>
        </p:nvSpPr>
        <p:spPr>
          <a:xfrm>
            <a:off x="1" y="0"/>
            <a:ext cx="12192000" cy="68584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E5CFC3B-69FF-4D8E-925D-7F1EC6ACF4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3464944" cy="6858446"/>
          </a:xfrm>
          <a:prstGeom prst="rect">
            <a:avLst/>
          </a:prstGeom>
        </p:spPr>
      </p:pic>
      <p:pic>
        <p:nvPicPr>
          <p:cNvPr id="12" name="Image 4">
            <a:extLst>
              <a:ext uri="{FF2B5EF4-FFF2-40B4-BE49-F238E27FC236}">
                <a16:creationId xmlns:a16="http://schemas.microsoft.com/office/drawing/2014/main" id="{C73E4128-DF69-4BDB-9E5F-895DFC0790C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6934" y="5782878"/>
            <a:ext cx="1323063" cy="821778"/>
          </a:xfrm>
          <a:prstGeom prst="rect">
            <a:avLst/>
          </a:prstGeom>
        </p:spPr>
      </p:pic>
      <p:sp>
        <p:nvSpPr>
          <p:cNvPr id="13" name="Picture Placeholder 36">
            <a:extLst>
              <a:ext uri="{FF2B5EF4-FFF2-40B4-BE49-F238E27FC236}">
                <a16:creationId xmlns:a16="http://schemas.microsoft.com/office/drawing/2014/main" id="{EC6DB1BF-A3AC-49D2-9A18-63AAC46AA7E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rgbClr val="7F7F7F"/>
          </a:solidFill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61D475BA-C8C6-44EB-9510-BFFA84323073}"/>
              </a:ext>
            </a:extLst>
          </p:cNvPr>
          <p:cNvSpPr txBox="1">
            <a:spLocks/>
          </p:cNvSpPr>
          <p:nvPr userDrawn="1"/>
        </p:nvSpPr>
        <p:spPr>
          <a:xfrm>
            <a:off x="5241871" y="2220873"/>
            <a:ext cx="6326492" cy="2317831"/>
          </a:xfrm>
          <a:prstGeom prst="rect">
            <a:avLst/>
          </a:prstGeom>
        </p:spPr>
        <p:txBody>
          <a:bodyPr vert="horz"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Gellix" pitchFamily="2" charset="77"/>
                <a:ea typeface="+mj-ea"/>
                <a:cs typeface="Gellix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24039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690C56-0209-4A0E-BD9B-90F5E9E28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F690C56-0209-4A0E-BD9B-90F5E9E288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94" name="Baselines / anchors"/>
            <p:cNvGrpSpPr/>
            <p:nvPr userDrawn="1"/>
          </p:nvGrpSpPr>
          <p:grpSpPr>
            <a:xfrm>
              <a:off x="-600" y="587828"/>
              <a:ext cx="12193200" cy="5425685"/>
              <a:chOff x="12623800" y="622800"/>
              <a:chExt cx="11176000" cy="5536800"/>
            </a:xfrm>
          </p:grpSpPr>
          <p:cxnSp>
            <p:nvCxnSpPr>
              <p:cNvPr id="118" name="Straight Connector 117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utter space"/>
            <p:cNvGrpSpPr/>
            <p:nvPr userDrawn="1"/>
          </p:nvGrpSpPr>
          <p:grpSpPr>
            <a:xfrm>
              <a:off x="1277000" y="587828"/>
              <a:ext cx="9638000" cy="5572769"/>
              <a:chOff x="1277000" y="623550"/>
              <a:chExt cx="9638000" cy="5537047"/>
            </a:xfrm>
          </p:grpSpPr>
          <p:sp>
            <p:nvSpPr>
              <p:cNvPr id="107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8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9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0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2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3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4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5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6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7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96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7" name="Footnote measure"/>
            <p:cNvSpPr>
              <a:spLocks noChangeArrowheads="1"/>
            </p:cNvSpPr>
            <p:nvPr/>
          </p:nvSpPr>
          <p:spPr bwMode="auto">
            <a:xfrm>
              <a:off x="790987" y="6031971"/>
              <a:ext cx="10650987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8" name="Whitespace measure"/>
            <p:cNvSpPr>
              <a:spLocks noChangeArrowheads="1"/>
            </p:cNvSpPr>
            <p:nvPr/>
          </p:nvSpPr>
          <p:spPr bwMode="auto">
            <a:xfrm>
              <a:off x="790986" y="1729217"/>
              <a:ext cx="10650987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99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2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3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4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5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6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00" name="Live area"/>
            <p:cNvSpPr/>
            <p:nvPr/>
          </p:nvSpPr>
          <p:spPr>
            <a:xfrm>
              <a:off x="790986" y="2312417"/>
              <a:ext cx="10650987" cy="3701097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1" name="Footnote example"/>
            <p:cNvSpPr txBox="1"/>
            <p:nvPr/>
          </p:nvSpPr>
          <p:spPr>
            <a:xfrm>
              <a:off x="790986" y="6013514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</a:t>
              </a:r>
              <a:r>
                <a:rPr lang="en-US" sz="1000" err="1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  2. </a:t>
              </a:r>
              <a:r>
                <a:rPr lang="en-US" sz="1000" err="1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  3. </a:t>
              </a:r>
              <a:r>
                <a:rPr lang="en-US" sz="1000" err="1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endPara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693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669F04-93EE-42DD-8BDD-FBEDEEFB8EFE}"/>
              </a:ext>
            </a:extLst>
          </p:cNvPr>
          <p:cNvSpPr/>
          <p:nvPr userDrawn="1"/>
        </p:nvSpPr>
        <p:spPr>
          <a:xfrm>
            <a:off x="1" y="0"/>
            <a:ext cx="12192000" cy="68584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7B40658-EBA4-4D74-AA43-D76C3F16A1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3464944" cy="6858446"/>
          </a:xfrm>
          <a:prstGeom prst="rect">
            <a:avLst/>
          </a:prstGeom>
        </p:spPr>
      </p:pic>
      <p:pic>
        <p:nvPicPr>
          <p:cNvPr id="19" name="Image 4">
            <a:extLst>
              <a:ext uri="{FF2B5EF4-FFF2-40B4-BE49-F238E27FC236}">
                <a16:creationId xmlns:a16="http://schemas.microsoft.com/office/drawing/2014/main" id="{0101DE30-AF32-425A-87CF-33A6E1C6A6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6934" y="5782878"/>
            <a:ext cx="1323063" cy="821778"/>
          </a:xfrm>
          <a:prstGeom prst="rect">
            <a:avLst/>
          </a:prstGeom>
        </p:spPr>
      </p:pic>
      <p:sp>
        <p:nvSpPr>
          <p:cNvPr id="23" name="Picture Placeholder 36">
            <a:extLst>
              <a:ext uri="{FF2B5EF4-FFF2-40B4-BE49-F238E27FC236}">
                <a16:creationId xmlns:a16="http://schemas.microsoft.com/office/drawing/2014/main" id="{071F589A-87BD-4BA8-96B1-2ADF1817BC5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rgbClr val="7F7F7F"/>
          </a:solidFill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EBFEB7-C1EE-4030-AC52-34CB49FA43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2" y="1053298"/>
            <a:ext cx="6326493" cy="2317831"/>
          </a:xfrm>
        </p:spPr>
        <p:txBody>
          <a:bodyPr vert="horz" lIns="91440" tIns="45720" rIns="91440" bIns="45720" anchor="b" anchorCtr="0">
            <a:noAutofit/>
          </a:bodyPr>
          <a:lstStyle>
            <a:lvl1pPr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0D582EF8-1475-4BE2-B7A3-D1BAC80BB3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42201" y="3486872"/>
            <a:ext cx="6326492" cy="1758896"/>
          </a:xfrm>
        </p:spPr>
        <p:txBody>
          <a:bodyPr lIns="91440" tIns="45720" rIns="91440" bIns="45720"/>
          <a:lstStyle>
            <a:lvl1pPr>
              <a:lnSpc>
                <a:spcPct val="100000"/>
              </a:lnSpc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7725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837EA0-6D3A-4893-B979-5FBC4950D9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837EA0-6D3A-4893-B979-5FBC4950D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6086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7C6A5D-B6C5-42CF-BC40-0A578425F6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7C6A5D-B6C5-42CF-BC40-0A578425F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0986" y="2312417"/>
            <a:ext cx="10650987" cy="37010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302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EB784F-3E5E-4901-A028-ABA5BB1F5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EB784F-3E5E-4901-A028-ABA5BB1F5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1200" y="2158987"/>
            <a:ext cx="36828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1227048"/>
            <a:ext cx="36828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3604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163806-4BB0-4E83-9C8C-6D9C1D71EA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163806-4BB0-4E83-9C8C-6D9C1D71E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CCE5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86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885C694-F824-AD9A-A457-7FEFE8D5C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C6FA973E-AADD-C2D8-F258-62C5149D54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12" y="1749213"/>
            <a:ext cx="10806575" cy="431149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400" b="1" i="0">
                <a:solidFill>
                  <a:schemeClr val="tx1"/>
                </a:solidFill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63FA8CB-1F09-583C-BF25-38C46EAFD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385" y="2312417"/>
            <a:ext cx="10806575" cy="370109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7" name="Espace réservé du numéro de diapositive 8">
            <a:extLst>
              <a:ext uri="{FF2B5EF4-FFF2-40B4-BE49-F238E27FC236}">
                <a16:creationId xmlns:a16="http://schemas.microsoft.com/office/drawing/2014/main" id="{5BDF3EE6-C65B-FC77-96EE-5740F8A92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1017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FFACA9-BF00-4A81-B4EF-EB6BE04C28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FFACA9-BF00-4A81-B4EF-EB6BE04C28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1200" y="3826800"/>
            <a:ext cx="10799759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790986" y="3680016"/>
            <a:ext cx="11397600" cy="0"/>
          </a:xfrm>
          <a:prstGeom prst="line">
            <a:avLst/>
          </a:prstGeom>
          <a:ln w="19050" cmpd="sng">
            <a:solidFill>
              <a:srgbClr val="CCE5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4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28FC2E-CF43-49FF-B1C0-CA8E3B58F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28FC2E-CF43-49FF-B1C0-CA8E3B58F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2681103"/>
            <a:ext cx="30666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355A76E-7129-4162-99AA-3C87A62B4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5D07696-A5DC-4A10-B852-AA60808DF9D5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110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30A438-BD4F-4073-A99A-9EA8291E7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30A438-BD4F-4073-A99A-9EA8291E7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195600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A9DC27C-E158-4ED8-B4A9-DEBD27C91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E908C55-33BA-47DF-B3DD-7B2509CD9B81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515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2BE714-9345-4392-A86E-794AF58EF2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2BE714-9345-4392-A86E-794AF58EF2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8040384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137B0D-BC1B-4B8A-869A-8B9A32E14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3E3B00F-0746-494A-BC47-D7C4E1A63E08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778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A0E743-BF68-42BA-A500-12DED621DB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A0E743-BF68-42BA-A500-12DED621DB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2681103"/>
            <a:ext cx="30666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8B45AD4-058F-48DE-B165-DA6462C0B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41B492-6C98-43C6-A3F2-6733F6A77B8D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" name="Connecteur droit 9">
            <a:extLst>
              <a:ext uri="{FF2B5EF4-FFF2-40B4-BE49-F238E27FC236}">
                <a16:creationId xmlns:a16="http://schemas.microsoft.com/office/drawing/2014/main" id="{A13F6256-E92B-4EE4-BD7C-531D8043319A}"/>
              </a:ext>
            </a:extLst>
          </p:cNvPr>
          <p:cNvCxnSpPr>
            <a:cxnSpLocks/>
          </p:cNvCxnSpPr>
          <p:nvPr userDrawn="1"/>
        </p:nvCxnSpPr>
        <p:spPr>
          <a:xfrm>
            <a:off x="4080763" y="6509583"/>
            <a:ext cx="7180361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22803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CB2AA6-4B6E-4A1E-BD5E-599B42D47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CB2AA6-4B6E-4A1E-BD5E-599B42D47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1200" y="1785600"/>
            <a:ext cx="4327200" cy="3286800"/>
          </a:xfrm>
          <a:prstGeom prst="rect">
            <a:avLst/>
          </a:prstGeom>
          <a:noFill/>
        </p:spPr>
        <p:txBody>
          <a:bodyPr vert="horz" wrap="square" lIns="91440" tIns="45720" rIns="91440" bIns="45720" anchor="ctr">
            <a:noAutofit/>
          </a:bodyPr>
          <a:lstStyle>
            <a:lvl1pPr>
              <a:defRPr sz="4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9AE4D26-E7D3-4700-8013-1FC28B7061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7EF08BB-6473-4036-9EAC-9CAC9108040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Connecteur droit 9">
            <a:extLst>
              <a:ext uri="{FF2B5EF4-FFF2-40B4-BE49-F238E27FC236}">
                <a16:creationId xmlns:a16="http://schemas.microsoft.com/office/drawing/2014/main" id="{8965C296-0B5F-40E5-BC88-EE57D4183A1E}"/>
              </a:ext>
            </a:extLst>
          </p:cNvPr>
          <p:cNvCxnSpPr>
            <a:cxnSpLocks/>
          </p:cNvCxnSpPr>
          <p:nvPr userDrawn="1"/>
        </p:nvCxnSpPr>
        <p:spPr>
          <a:xfrm>
            <a:off x="6092022" y="6509583"/>
            <a:ext cx="5169103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47633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6DC4D7-7F1C-40C2-BB88-C18F084E1D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6DC4D7-7F1C-40C2-BB88-C18F084E1D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1200" y="1785600"/>
            <a:ext cx="618728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7DB6B26-7DAF-4CDC-8C52-CECE5D6ED7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9A6710E-D978-405B-9D57-965EE43B2BF8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9" name="Connecteur droit 9">
            <a:extLst>
              <a:ext uri="{FF2B5EF4-FFF2-40B4-BE49-F238E27FC236}">
                <a16:creationId xmlns:a16="http://schemas.microsoft.com/office/drawing/2014/main" id="{E52FFBDD-D246-4ADC-A42F-90C6BFD63B5D}"/>
              </a:ext>
            </a:extLst>
          </p:cNvPr>
          <p:cNvCxnSpPr>
            <a:cxnSpLocks/>
          </p:cNvCxnSpPr>
          <p:nvPr userDrawn="1"/>
        </p:nvCxnSpPr>
        <p:spPr>
          <a:xfrm>
            <a:off x="7820025" y="6509583"/>
            <a:ext cx="3441099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8962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39E6BE8-E848-4E43-952F-8165F4BA4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200" y="2764203"/>
            <a:ext cx="2417438" cy="1314311"/>
          </a:xfrm>
        </p:spPr>
        <p:txBody>
          <a:bodyPr vert="horz" anchor="ctr" anchorCtr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E4E9879-F995-42B1-ADC3-4D0A66D9A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C585D99-FA88-4E60-AA5D-8EA642FA9A6B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681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0E7CAA-1190-4495-B285-46CBAC8E9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0E7CAA-1190-4495-B285-46CBAC8E9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1200" y="2764203"/>
            <a:ext cx="24174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8C4D74E-3481-4E33-9D5D-A1DD68670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D1D155B-4691-4ACF-AC9B-9A58E27063BB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" name="Connecteur droit 9">
            <a:extLst>
              <a:ext uri="{FF2B5EF4-FFF2-40B4-BE49-F238E27FC236}">
                <a16:creationId xmlns:a16="http://schemas.microsoft.com/office/drawing/2014/main" id="{A85E8963-4292-4B14-A830-B720D3FF3BA5}"/>
              </a:ext>
            </a:extLst>
          </p:cNvPr>
          <p:cNvCxnSpPr>
            <a:cxnSpLocks/>
          </p:cNvCxnSpPr>
          <p:nvPr userDrawn="1"/>
        </p:nvCxnSpPr>
        <p:spPr>
          <a:xfrm>
            <a:off x="3333750" y="6509583"/>
            <a:ext cx="792737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72199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04277D-16FB-4BC4-B8AB-14FC19D0A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04277D-16FB-4BC4-B8AB-14FC19D0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1785600"/>
            <a:ext cx="40010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1FD8D-434E-48D0-BEE4-2B93E7D0BB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F620AEC-FB15-4103-BAE3-6DDDACDA3DCA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508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FB78703-5421-8D34-F342-E0D68DA7B59D}"/>
              </a:ext>
            </a:extLst>
          </p:cNvPr>
          <p:cNvSpPr/>
          <p:nvPr userDrawn="1"/>
        </p:nvSpPr>
        <p:spPr>
          <a:xfrm>
            <a:off x="394412" y="406400"/>
            <a:ext cx="11411507" cy="5748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DA9BEEBD-FA10-7363-95F0-DFBC2C0C2F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43664" y="2032000"/>
            <a:ext cx="2793639" cy="2793639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 dirty="0"/>
              <a:t>Insert image 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E7E7A3C7-97A9-0E37-7282-5CDBF1CA7D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715" y="980574"/>
            <a:ext cx="6969685" cy="3367183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28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“Quote”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C3D7F63-055E-372F-51E5-005232A75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716" y="4518455"/>
            <a:ext cx="6969685" cy="1025493"/>
          </a:xfrm>
          <a:prstGeom prst="rect">
            <a:avLst/>
          </a:prstGeom>
        </p:spPr>
        <p:txBody>
          <a:bodyPr/>
          <a:lstStyle>
            <a:lvl1pPr>
              <a:defRPr sz="1800" b="1" i="0" cap="none" spc="0">
                <a:ln w="0"/>
                <a:solidFill>
                  <a:schemeClr val="tx2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Author</a:t>
            </a:r>
            <a:endParaRPr lang="en-US" dirty="0"/>
          </a:p>
        </p:txBody>
      </p:sp>
      <p:sp>
        <p:nvSpPr>
          <p:cNvPr id="20" name="Espace réservé du numéro de diapositive 8">
            <a:extLst>
              <a:ext uri="{FF2B5EF4-FFF2-40B4-BE49-F238E27FC236}">
                <a16:creationId xmlns:a16="http://schemas.microsoft.com/office/drawing/2014/main" id="{8AE52DD2-7FC2-5BA3-B052-1067BB3F3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F6123BEC-2D68-D642-42FC-9DE86BC16EB9}"/>
              </a:ext>
            </a:extLst>
          </p:cNvPr>
          <p:cNvCxnSpPr>
            <a:cxnSpLocks/>
          </p:cNvCxnSpPr>
          <p:nvPr userDrawn="1"/>
        </p:nvCxnSpPr>
        <p:spPr>
          <a:xfrm>
            <a:off x="394412" y="6509583"/>
            <a:ext cx="108667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026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1DCB5D-3F44-4A2C-8B7E-471F66B92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1DCB5D-3F44-4A2C-8B7E-471F66B92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1785600"/>
            <a:ext cx="40010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A3925E-8D13-449B-A5AA-EE6201486E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1DADFE-ACC9-4D2E-9749-4203D598A0E4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1" name="Connecteur droit 9">
            <a:extLst>
              <a:ext uri="{FF2B5EF4-FFF2-40B4-BE49-F238E27FC236}">
                <a16:creationId xmlns:a16="http://schemas.microsoft.com/office/drawing/2014/main" id="{83E83D49-219A-4635-821B-1F56CBFE6745}"/>
              </a:ext>
            </a:extLst>
          </p:cNvPr>
          <p:cNvCxnSpPr>
            <a:cxnSpLocks/>
          </p:cNvCxnSpPr>
          <p:nvPr userDrawn="1"/>
        </p:nvCxnSpPr>
        <p:spPr>
          <a:xfrm>
            <a:off x="4838700" y="6509583"/>
            <a:ext cx="642242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9870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CA56FE-7CCF-4D92-9D17-6A3D45BDC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CA56FE-7CCF-4D92-9D17-6A3D45BDC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4686622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25FF1CB-E040-4C4A-BA61-1206C938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05E76D7-567A-476B-A6BF-474291304179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789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53440D-CF1B-4632-A6F8-02A56D5561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53440D-CF1B-4632-A6F8-02A56D556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4686622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A642AE4-3185-42A4-A806-BCA191F38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18DC9C8-203E-48C4-A032-B1D604CE38F6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8" name="Connecteur droit 9">
            <a:extLst>
              <a:ext uri="{FF2B5EF4-FFF2-40B4-BE49-F238E27FC236}">
                <a16:creationId xmlns:a16="http://schemas.microsoft.com/office/drawing/2014/main" id="{84A8342E-6A5E-400B-A55C-14CAA4CE0DF5}"/>
              </a:ext>
            </a:extLst>
          </p:cNvPr>
          <p:cNvCxnSpPr>
            <a:cxnSpLocks/>
          </p:cNvCxnSpPr>
          <p:nvPr userDrawn="1"/>
        </p:nvCxnSpPr>
        <p:spPr>
          <a:xfrm>
            <a:off x="5600700" y="6509583"/>
            <a:ext cx="566042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7985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CD0D2F-58F9-49A0-9353-D9E6B8C9E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3CD0D2F-58F9-49A0-9353-D9E6B8C9E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193296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488F80B-A226-4E44-8A34-F7ECCBE8A2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07404AB-CD73-454C-A3DD-E7B23A49A621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056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3EE98-0010-4C9D-884A-CD295D481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3EE98-0010-4C9D-884A-CD295D481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7BFF"/>
              </a:gs>
              <a:gs pos="100000">
                <a:srgbClr val="005EBF"/>
              </a:gs>
            </a:gsLst>
            <a:lin ang="81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604004"/>
            <a:ext cx="6254496" cy="60170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E7417E8-7FE7-45AF-AE73-3D19408500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1909BC2-4079-436E-AE70-67A4A3011A58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Connecteur droit 9">
            <a:extLst>
              <a:ext uri="{FF2B5EF4-FFF2-40B4-BE49-F238E27FC236}">
                <a16:creationId xmlns:a16="http://schemas.microsoft.com/office/drawing/2014/main" id="{E1B636E1-C734-415A-A5DE-AF5CF52466BF}"/>
              </a:ext>
            </a:extLst>
          </p:cNvPr>
          <p:cNvCxnSpPr>
            <a:cxnSpLocks/>
          </p:cNvCxnSpPr>
          <p:nvPr userDrawn="1"/>
        </p:nvCxnSpPr>
        <p:spPr>
          <a:xfrm>
            <a:off x="7715250" y="6509583"/>
            <a:ext cx="354587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91742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B8FED6-7D25-4E03-9FDB-00EEE46D4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B8FED6-7D25-4E03-9FDB-00EEE46D4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3826333"/>
            <a:ext cx="10799759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9E98E51-D7DD-4F77-BD54-DD9360FBC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1F0F31-2D16-4D55-A60C-714CF775CE55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768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167DFD-34FB-4890-A851-11AE3678F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167DFD-34FB-4890-A851-11AE3678F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90987" y="625475"/>
            <a:ext cx="932688" cy="932688"/>
          </a:xfrm>
          <a:prstGeom prst="rect">
            <a:avLst/>
          </a:prstGeom>
          <a:noFill/>
          <a:ln>
            <a:solidFill>
              <a:srgbClr val="CCE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1200" y="3826333"/>
            <a:ext cx="10799759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5582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3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66A85F-E71F-488F-9651-48D35ED341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E5BED94-58E5-46C5-AB60-86E20D6FB983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28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bg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6E977D-B0CF-430A-84F7-01A00764F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691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6E977D-B0CF-430A-84F7-01A00764F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0E8553-DF77-48ED-A54E-D9914E15C8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0BECD85-0A56-44B3-A515-7B446153EAD1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357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45D6126-ECA1-4D85-B96A-FCCD8E8A7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45D6126-ECA1-4D85-B96A-FCCD8E8A7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90987" y="2577934"/>
            <a:ext cx="27582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09FBBD3-0EFB-44E7-AB75-1B3DEBE459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948AC43-E8FD-4DC0-AE69-9842F791AE3A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661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8D430C7E-DD70-0E0C-87C0-1046EA92A3D7}"/>
              </a:ext>
            </a:extLst>
          </p:cNvPr>
          <p:cNvCxnSpPr>
            <a:cxnSpLocks/>
          </p:cNvCxnSpPr>
          <p:nvPr userDrawn="1"/>
        </p:nvCxnSpPr>
        <p:spPr>
          <a:xfrm>
            <a:off x="8067554" y="555171"/>
            <a:ext cx="0" cy="531772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398761"/>
            <a:ext cx="3201493" cy="319517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478782D-3468-F382-9D8B-9B59A3659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8163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A9B54EFC-B9B4-7355-F5AA-F41DAE8ED7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9525" y="398761"/>
            <a:ext cx="3314700" cy="842427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2400" b="1" i="0">
                <a:latin typeface="+mj-lt"/>
                <a:cs typeface="Gellix" pitchFamily="2" charset="77"/>
              </a:defRPr>
            </a:lvl1pPr>
            <a:lvl2pPr marL="9525" indent="0">
              <a:buNone/>
              <a:tabLst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2pPr>
            <a:lvl3pPr marL="1257300" indent="-342900">
              <a:buFont typeface="+mj-lt"/>
              <a:buAutoNum type="arabicPeriod"/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Gellix" pitchFamily="2" charset="77"/>
                <a:cs typeface="Gellix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4ACA963-A92C-2A5E-2878-DC460F1736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163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32EBC37-7E9E-B538-4A88-CDEEB2865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9525" y="1368163"/>
            <a:ext cx="3314700" cy="450473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Text</a:t>
            </a:r>
            <a:endParaRPr lang="fr-FR" dirty="0"/>
          </a:p>
        </p:txBody>
      </p:sp>
      <p:sp>
        <p:nvSpPr>
          <p:cNvPr id="27" name="Espace réservé du numéro de diapositive 8">
            <a:extLst>
              <a:ext uri="{FF2B5EF4-FFF2-40B4-BE49-F238E27FC236}">
                <a16:creationId xmlns:a16="http://schemas.microsoft.com/office/drawing/2014/main" id="{E9F5D185-4CC4-679B-6895-C93296AF6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06271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DEB9D0-498D-419F-BE5D-705C23612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3DEB9D0-498D-419F-BE5D-705C23612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96EF3A-8050-4B66-95E6-92D992499F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3E4ED85-3752-4458-AFA4-EE5B734F68B1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826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BF17B9-B8CD-4123-945B-399BEFDF7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BF17B9-B8CD-4123-945B-399BEFDF7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939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4DE9FA-136E-4D29-AD1A-CA80F91E5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34DE9FA-136E-4D29-AD1A-CA80F91E5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2C29C4-8A4A-4CC2-857D-E01395344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defRPr lang="en-US" sz="9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91200" y="2926910"/>
            <a:ext cx="3290248" cy="7986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627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E48AB44-323C-473A-B73E-F593BCA6566F}"/>
              </a:ext>
            </a:extLst>
          </p:cNvPr>
          <p:cNvSpPr/>
          <p:nvPr userDrawn="1"/>
        </p:nvSpPr>
        <p:spPr>
          <a:xfrm>
            <a:off x="1" y="0"/>
            <a:ext cx="12192000" cy="68584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12DBB81-A930-4793-8449-8E88A004AB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3464944" cy="6858446"/>
          </a:xfrm>
          <a:prstGeom prst="rect">
            <a:avLst/>
          </a:prstGeom>
        </p:spPr>
      </p:pic>
      <p:pic>
        <p:nvPicPr>
          <p:cNvPr id="12" name="Image 4">
            <a:extLst>
              <a:ext uri="{FF2B5EF4-FFF2-40B4-BE49-F238E27FC236}">
                <a16:creationId xmlns:a16="http://schemas.microsoft.com/office/drawing/2014/main" id="{DB6509F6-B162-4C20-B6D9-9D7F3B5F9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6934" y="5782878"/>
            <a:ext cx="1323063" cy="821778"/>
          </a:xfrm>
          <a:prstGeom prst="rect">
            <a:avLst/>
          </a:prstGeom>
        </p:spPr>
      </p:pic>
      <p:sp>
        <p:nvSpPr>
          <p:cNvPr id="13" name="Picture Placeholder 36">
            <a:extLst>
              <a:ext uri="{FF2B5EF4-FFF2-40B4-BE49-F238E27FC236}">
                <a16:creationId xmlns:a16="http://schemas.microsoft.com/office/drawing/2014/main" id="{46A9C255-F747-4B80-835D-80EBAB334C9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rgbClr val="7F7F7F"/>
          </a:solidFill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nsert image here</a:t>
            </a: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2FCE0AE6-CBB2-492F-915B-60AE6C54CC9E}"/>
              </a:ext>
            </a:extLst>
          </p:cNvPr>
          <p:cNvSpPr txBox="1">
            <a:spLocks/>
          </p:cNvSpPr>
          <p:nvPr userDrawn="1"/>
        </p:nvSpPr>
        <p:spPr>
          <a:xfrm>
            <a:off x="5241871" y="2220873"/>
            <a:ext cx="6326492" cy="2317831"/>
          </a:xfrm>
          <a:prstGeom prst="rect">
            <a:avLst/>
          </a:prstGeom>
        </p:spPr>
        <p:txBody>
          <a:bodyPr vert="horz"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Gellix" pitchFamily="2" charset="77"/>
                <a:ea typeface="+mj-ea"/>
                <a:cs typeface="Gellix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29879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0A837D-B2EB-451A-AC93-235195C41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0A837D-B2EB-451A-AC93-235195C41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8" name="No fly zone"/>
          <p:cNvSpPr/>
          <p:nvPr/>
        </p:nvSpPr>
        <p:spPr>
          <a:xfrm>
            <a:off x="0" y="-1"/>
            <a:ext cx="12193200" cy="6858000"/>
          </a:xfrm>
          <a:custGeom>
            <a:avLst/>
            <a:gdLst>
              <a:gd name="connsiteX0" fmla="*/ 630001 w 12193200"/>
              <a:gd name="connsiteY0" fmla="*/ 622800 h 6858000"/>
              <a:gd name="connsiteX1" fmla="*/ 630001 w 12193200"/>
              <a:gd name="connsiteY1" fmla="*/ 6160597 h 6858000"/>
              <a:gd name="connsiteX2" fmla="*/ 11562000 w 12193200"/>
              <a:gd name="connsiteY2" fmla="*/ 6160597 h 6858000"/>
              <a:gd name="connsiteX3" fmla="*/ 11562000 w 12193200"/>
              <a:gd name="connsiteY3" fmla="*/ 6228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22800 h 6858000"/>
              <a:gd name="connsiteX7" fmla="*/ 12192000 w 12193200"/>
              <a:gd name="connsiteY7" fmla="*/ 622800 h 6858000"/>
              <a:gd name="connsiteX8" fmla="*/ 12192000 w 12193200"/>
              <a:gd name="connsiteY8" fmla="*/ 6160597 h 6858000"/>
              <a:gd name="connsiteX9" fmla="*/ 12193200 w 12193200"/>
              <a:gd name="connsiteY9" fmla="*/ 6160597 h 6858000"/>
              <a:gd name="connsiteX10" fmla="*/ 12193200 w 12193200"/>
              <a:gd name="connsiteY10" fmla="*/ 6858000 h 6858000"/>
              <a:gd name="connsiteX11" fmla="*/ 12192000 w 12193200"/>
              <a:gd name="connsiteY11" fmla="*/ 6858000 h 6858000"/>
              <a:gd name="connsiteX12" fmla="*/ 11562000 w 12193200"/>
              <a:gd name="connsiteY12" fmla="*/ 6858000 h 6858000"/>
              <a:gd name="connsiteX13" fmla="*/ 630001 w 12193200"/>
              <a:gd name="connsiteY13" fmla="*/ 6858000 h 6858000"/>
              <a:gd name="connsiteX14" fmla="*/ 1 w 12193200"/>
              <a:gd name="connsiteY14" fmla="*/ 6858000 h 6858000"/>
              <a:gd name="connsiteX15" fmla="*/ 1 w 12193200"/>
              <a:gd name="connsiteY15" fmla="*/ 6160597 h 6858000"/>
              <a:gd name="connsiteX16" fmla="*/ 1 w 12193200"/>
              <a:gd name="connsiteY16" fmla="*/ 622800 h 6858000"/>
              <a:gd name="connsiteX17" fmla="*/ 0 w 12193200"/>
              <a:gd name="connsiteY17" fmla="*/ 62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3200" h="6858000">
                <a:moveTo>
                  <a:pt x="630001" y="622800"/>
                </a:moveTo>
                <a:lnTo>
                  <a:pt x="630001" y="6160597"/>
                </a:lnTo>
                <a:lnTo>
                  <a:pt x="11562000" y="6160597"/>
                </a:lnTo>
                <a:lnTo>
                  <a:pt x="11562000" y="6228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EFEF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9" name="Baselines / anchors"/>
          <p:cNvGrpSpPr/>
          <p:nvPr userDrawn="1"/>
        </p:nvGrpSpPr>
        <p:grpSpPr>
          <a:xfrm>
            <a:off x="-600" y="587828"/>
            <a:ext cx="12193200" cy="5425685"/>
            <a:chOff x="12623800" y="622800"/>
            <a:chExt cx="11176000" cy="5536800"/>
          </a:xfrm>
        </p:grpSpPr>
        <p:cxnSp>
          <p:nvCxnSpPr>
            <p:cNvPr id="123" name="Straight Connector 122"/>
            <p:cNvCxnSpPr/>
            <p:nvPr/>
          </p:nvCxnSpPr>
          <p:spPr>
            <a:xfrm>
              <a:off x="12623800" y="6228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12623800" y="914211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/>
          </p:nvCxnSpPr>
          <p:spPr>
            <a:xfrm>
              <a:off x="12623800" y="1205622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/>
          </p:nvCxnSpPr>
          <p:spPr>
            <a:xfrm>
              <a:off x="12623800" y="14976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>
              <a:off x="12623800" y="1788444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>
              <a:off x="12623800" y="2079855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>
              <a:off x="12623800" y="2371266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12623800" y="2662677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12623800" y="2954088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/>
          </p:nvCxnSpPr>
          <p:spPr>
            <a:xfrm>
              <a:off x="12623800" y="3245499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/>
          </p:nvCxnSpPr>
          <p:spPr>
            <a:xfrm>
              <a:off x="12623800" y="353691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/>
          </p:nvCxnSpPr>
          <p:spPr>
            <a:xfrm>
              <a:off x="12623800" y="3828321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/>
          </p:nvCxnSpPr>
          <p:spPr>
            <a:xfrm>
              <a:off x="12623800" y="4119732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/>
          </p:nvCxnSpPr>
          <p:spPr>
            <a:xfrm>
              <a:off x="12623800" y="4411143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12623800" y="4702554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12623800" y="4993965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/>
          </p:nvCxnSpPr>
          <p:spPr>
            <a:xfrm>
              <a:off x="12623800" y="5285376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/>
          </p:nvCxnSpPr>
          <p:spPr>
            <a:xfrm>
              <a:off x="12623800" y="5576787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>
              <a:off x="12623800" y="5868198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/>
          </p:nvCxnSpPr>
          <p:spPr>
            <a:xfrm>
              <a:off x="12623800" y="6159600"/>
              <a:ext cx="111760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utter space"/>
          <p:cNvGrpSpPr/>
          <p:nvPr userDrawn="1"/>
        </p:nvGrpSpPr>
        <p:grpSpPr>
          <a:xfrm>
            <a:off x="1277000" y="587828"/>
            <a:ext cx="9638000" cy="5572769"/>
            <a:chOff x="1277000" y="623550"/>
            <a:chExt cx="9638000" cy="5537047"/>
          </a:xfrm>
        </p:grpSpPr>
        <p:sp>
          <p:nvSpPr>
            <p:cNvPr id="112" name="Rectangle 34"/>
            <p:cNvSpPr>
              <a:spLocks noChangeArrowheads="1"/>
            </p:cNvSpPr>
            <p:nvPr/>
          </p:nvSpPr>
          <p:spPr bwMode="auto">
            <a:xfrm>
              <a:off x="688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3" name="Rectangle 35"/>
            <p:cNvSpPr>
              <a:spLocks noChangeArrowheads="1"/>
            </p:cNvSpPr>
            <p:nvPr/>
          </p:nvSpPr>
          <p:spPr bwMode="auto">
            <a:xfrm>
              <a:off x="875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4" name="Rectangle 36"/>
            <p:cNvSpPr>
              <a:spLocks noChangeArrowheads="1"/>
            </p:cNvSpPr>
            <p:nvPr/>
          </p:nvSpPr>
          <p:spPr bwMode="auto">
            <a:xfrm>
              <a:off x="782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5" name="Rectangle 37"/>
            <p:cNvSpPr>
              <a:spLocks noChangeArrowheads="1"/>
            </p:cNvSpPr>
            <p:nvPr/>
          </p:nvSpPr>
          <p:spPr bwMode="auto">
            <a:xfrm>
              <a:off x="969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6" name="Rectangle 38"/>
            <p:cNvSpPr>
              <a:spLocks noChangeArrowheads="1"/>
            </p:cNvSpPr>
            <p:nvPr/>
          </p:nvSpPr>
          <p:spPr bwMode="auto">
            <a:xfrm>
              <a:off x="1062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7" name="Rectangle 39"/>
            <p:cNvSpPr>
              <a:spLocks noChangeArrowheads="1"/>
            </p:cNvSpPr>
            <p:nvPr/>
          </p:nvSpPr>
          <p:spPr bwMode="auto">
            <a:xfrm>
              <a:off x="595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8" name="Rectangle 40"/>
            <p:cNvSpPr>
              <a:spLocks noChangeArrowheads="1"/>
            </p:cNvSpPr>
            <p:nvPr/>
          </p:nvSpPr>
          <p:spPr bwMode="auto">
            <a:xfrm>
              <a:off x="127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9" name="Rectangle 41"/>
            <p:cNvSpPr>
              <a:spLocks noChangeArrowheads="1"/>
            </p:cNvSpPr>
            <p:nvPr/>
          </p:nvSpPr>
          <p:spPr bwMode="auto">
            <a:xfrm>
              <a:off x="221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0" name="Rectangle 42"/>
            <p:cNvSpPr>
              <a:spLocks noChangeArrowheads="1"/>
            </p:cNvSpPr>
            <p:nvPr/>
          </p:nvSpPr>
          <p:spPr bwMode="auto">
            <a:xfrm>
              <a:off x="314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1" name="Rectangle 43"/>
            <p:cNvSpPr>
              <a:spLocks noChangeArrowheads="1"/>
            </p:cNvSpPr>
            <p:nvPr/>
          </p:nvSpPr>
          <p:spPr bwMode="auto">
            <a:xfrm>
              <a:off x="4082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2" name="Rectangle 44"/>
            <p:cNvSpPr>
              <a:spLocks noChangeArrowheads="1"/>
            </p:cNvSpPr>
            <p:nvPr/>
          </p:nvSpPr>
          <p:spPr bwMode="auto">
            <a:xfrm>
              <a:off x="5017000" y="623550"/>
              <a:ext cx="288000" cy="5537047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01" name="Slide edges"/>
          <p:cNvSpPr>
            <a:spLocks/>
          </p:cNvSpPr>
          <p:nvPr/>
        </p:nvSpPr>
        <p:spPr bwMode="auto">
          <a:xfrm>
            <a:off x="-600" y="0"/>
            <a:ext cx="12193200" cy="6858000"/>
          </a:xfrm>
          <a:custGeom>
            <a:avLst/>
            <a:gdLst>
              <a:gd name="T0" fmla="*/ 6024 w 6026"/>
              <a:gd name="T1" fmla="*/ 3394 h 3396"/>
              <a:gd name="T2" fmla="*/ 6024 w 6026"/>
              <a:gd name="T3" fmla="*/ 3391 h 3396"/>
              <a:gd name="T4" fmla="*/ 5 w 6026"/>
              <a:gd name="T5" fmla="*/ 3391 h 3396"/>
              <a:gd name="T6" fmla="*/ 5 w 6026"/>
              <a:gd name="T7" fmla="*/ 5 h 3396"/>
              <a:gd name="T8" fmla="*/ 6021 w 6026"/>
              <a:gd name="T9" fmla="*/ 5 h 3396"/>
              <a:gd name="T10" fmla="*/ 6021 w 6026"/>
              <a:gd name="T11" fmla="*/ 3394 h 3396"/>
              <a:gd name="T12" fmla="*/ 6024 w 6026"/>
              <a:gd name="T13" fmla="*/ 3394 h 3396"/>
              <a:gd name="T14" fmla="*/ 6024 w 6026"/>
              <a:gd name="T15" fmla="*/ 3391 h 3396"/>
              <a:gd name="T16" fmla="*/ 6024 w 6026"/>
              <a:gd name="T17" fmla="*/ 3394 h 3396"/>
              <a:gd name="T18" fmla="*/ 6026 w 6026"/>
              <a:gd name="T19" fmla="*/ 3394 h 3396"/>
              <a:gd name="T20" fmla="*/ 6026 w 6026"/>
              <a:gd name="T21" fmla="*/ 0 h 3396"/>
              <a:gd name="T22" fmla="*/ 0 w 6026"/>
              <a:gd name="T23" fmla="*/ 0 h 3396"/>
              <a:gd name="T24" fmla="*/ 0 w 6026"/>
              <a:gd name="T25" fmla="*/ 3396 h 3396"/>
              <a:gd name="T26" fmla="*/ 6026 w 6026"/>
              <a:gd name="T27" fmla="*/ 3396 h 3396"/>
              <a:gd name="T28" fmla="*/ 6026 w 6026"/>
              <a:gd name="T29" fmla="*/ 3394 h 3396"/>
              <a:gd name="T30" fmla="*/ 6024 w 6026"/>
              <a:gd name="T31" fmla="*/ 3394 h 3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026" h="3396">
                <a:moveTo>
                  <a:pt x="6024" y="3394"/>
                </a:moveTo>
                <a:lnTo>
                  <a:pt x="6024" y="3391"/>
                </a:lnTo>
                <a:lnTo>
                  <a:pt x="5" y="3391"/>
                </a:lnTo>
                <a:lnTo>
                  <a:pt x="5" y="5"/>
                </a:lnTo>
                <a:lnTo>
                  <a:pt x="6021" y="5"/>
                </a:lnTo>
                <a:lnTo>
                  <a:pt x="6021" y="3394"/>
                </a:lnTo>
                <a:lnTo>
                  <a:pt x="6024" y="3394"/>
                </a:lnTo>
                <a:lnTo>
                  <a:pt x="6024" y="3391"/>
                </a:lnTo>
                <a:lnTo>
                  <a:pt x="6024" y="3394"/>
                </a:lnTo>
                <a:lnTo>
                  <a:pt x="6026" y="3394"/>
                </a:lnTo>
                <a:lnTo>
                  <a:pt x="6026" y="0"/>
                </a:lnTo>
                <a:lnTo>
                  <a:pt x="0" y="0"/>
                </a:lnTo>
                <a:lnTo>
                  <a:pt x="0" y="3396"/>
                </a:lnTo>
                <a:lnTo>
                  <a:pt x="6026" y="3396"/>
                </a:lnTo>
                <a:lnTo>
                  <a:pt x="6026" y="3394"/>
                </a:lnTo>
                <a:lnTo>
                  <a:pt x="6024" y="33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Footnote measure"/>
          <p:cNvSpPr>
            <a:spLocks noChangeArrowheads="1"/>
          </p:cNvSpPr>
          <p:nvPr/>
        </p:nvSpPr>
        <p:spPr bwMode="auto">
          <a:xfrm>
            <a:off x="790987" y="6031971"/>
            <a:ext cx="10650987" cy="378584"/>
          </a:xfrm>
          <a:prstGeom prst="rect">
            <a:avLst/>
          </a:prstGeom>
          <a:solidFill>
            <a:schemeClr val="accent3">
              <a:alpha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Whitespace measure"/>
          <p:cNvSpPr>
            <a:spLocks noChangeArrowheads="1"/>
          </p:cNvSpPr>
          <p:nvPr/>
        </p:nvSpPr>
        <p:spPr bwMode="auto">
          <a:xfrm>
            <a:off x="790986" y="1729217"/>
            <a:ext cx="10650987" cy="583200"/>
          </a:xfrm>
          <a:prstGeom prst="rect">
            <a:avLst/>
          </a:prstGeom>
          <a:solidFill>
            <a:schemeClr val="accent3">
              <a:alpha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4" name="Five column measure"/>
          <p:cNvGrpSpPr/>
          <p:nvPr userDrawn="1"/>
        </p:nvGrpSpPr>
        <p:grpSpPr>
          <a:xfrm>
            <a:off x="629400" y="5975122"/>
            <a:ext cx="10933200" cy="79536"/>
            <a:chOff x="629400" y="5975122"/>
            <a:chExt cx="10933200" cy="79536"/>
          </a:xfrm>
        </p:grpSpPr>
        <p:sp>
          <p:nvSpPr>
            <p:cNvPr id="107" name="Rectangle 5"/>
            <p:cNvSpPr>
              <a:spLocks noChangeArrowheads="1"/>
            </p:cNvSpPr>
            <p:nvPr/>
          </p:nvSpPr>
          <p:spPr bwMode="auto">
            <a:xfrm>
              <a:off x="2880128" y="5975122"/>
              <a:ext cx="1930288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auto">
            <a:xfrm>
              <a:off x="9626194" y="5975122"/>
              <a:ext cx="1936406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9" name="Rectangle 9"/>
            <p:cNvSpPr>
              <a:spLocks noChangeArrowheads="1"/>
            </p:cNvSpPr>
            <p:nvPr/>
          </p:nvSpPr>
          <p:spPr bwMode="auto">
            <a:xfrm>
              <a:off x="7372407" y="5975122"/>
              <a:ext cx="1936406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0" name="Rectangle 11"/>
            <p:cNvSpPr>
              <a:spLocks noChangeArrowheads="1"/>
            </p:cNvSpPr>
            <p:nvPr/>
          </p:nvSpPr>
          <p:spPr bwMode="auto">
            <a:xfrm>
              <a:off x="5127797" y="5975122"/>
              <a:ext cx="1927229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1" name="Rectangle 13"/>
            <p:cNvSpPr>
              <a:spLocks noChangeArrowheads="1"/>
            </p:cNvSpPr>
            <p:nvPr/>
          </p:nvSpPr>
          <p:spPr bwMode="auto">
            <a:xfrm>
              <a:off x="629400" y="5975122"/>
              <a:ext cx="1933347" cy="79536"/>
            </a:xfrm>
            <a:prstGeom prst="rect">
              <a:avLst/>
            </a:prstGeom>
            <a:solidFill>
              <a:schemeClr val="accent5">
                <a:alpha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05" name="Live area"/>
          <p:cNvSpPr/>
          <p:nvPr/>
        </p:nvSpPr>
        <p:spPr>
          <a:xfrm>
            <a:off x="790986" y="2312417"/>
            <a:ext cx="10650987" cy="3701097"/>
          </a:xfrm>
          <a:custGeom>
            <a:avLst/>
            <a:gdLst>
              <a:gd name="connsiteX0" fmla="*/ 0 w 10931999"/>
              <a:gd name="connsiteY0" fmla="*/ 0 h 5537797"/>
              <a:gd name="connsiteX1" fmla="*/ 10931999 w 10931999"/>
              <a:gd name="connsiteY1" fmla="*/ 0 h 5537797"/>
              <a:gd name="connsiteX2" fmla="*/ 10931999 w 10931999"/>
              <a:gd name="connsiteY2" fmla="*/ 5537797 h 5537797"/>
              <a:gd name="connsiteX3" fmla="*/ 0 w 10931999"/>
              <a:gd name="connsiteY3" fmla="*/ 5537797 h 5537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31999" h="5537797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>
            <a:solidFill>
              <a:srgbClr val="E71C57">
                <a:alpha val="35000"/>
              </a:srgb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Footnote example"/>
          <p:cNvSpPr txBox="1"/>
          <p:nvPr/>
        </p:nvSpPr>
        <p:spPr>
          <a:xfrm>
            <a:off x="790986" y="6013514"/>
            <a:ext cx="9030914" cy="4154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. </a:t>
            </a:r>
            <a:r>
              <a:rPr lang="en-US" sz="1000" err="1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xxx</a:t>
            </a:r>
            <a:r>
              <a: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  2. </a:t>
            </a:r>
            <a:r>
              <a:rPr lang="en-US" sz="1000" err="1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xxx</a:t>
            </a:r>
            <a:r>
              <a: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  3. </a:t>
            </a:r>
            <a:r>
              <a:rPr lang="en-US" sz="1000" err="1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xxx</a:t>
            </a:r>
            <a:endParaRPr lang="en-US" sz="100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e: List footnotes in numerical order. Footnote numbers are not bracketed. Use 10pt font. Do not put a period at the end of the note or the source</a:t>
            </a:r>
          </a:p>
          <a:p>
            <a:pPr>
              <a:lnSpc>
                <a:spcPct val="90000"/>
              </a:lnSpc>
            </a:pPr>
            <a:r>
              <a:rPr lang="en-US" sz="10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Include a source for every chart that you use. Separate sources with a semicolon; BCG-related sources go at the end</a:t>
            </a:r>
          </a:p>
        </p:txBody>
      </p:sp>
    </p:spTree>
    <p:extLst>
      <p:ext uri="{BB962C8B-B14F-4D97-AF65-F5344CB8AC3E}">
        <p14:creationId xmlns:p14="http://schemas.microsoft.com/office/powerpoint/2010/main" val="303193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516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DACF04A-CE63-4380-BA95-A42F0474AB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AB157F6-5C5F-41F5-9322-5BD85A85AAA5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221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53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CB58BD-E4FF-427D-99C8-7F3544F577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B3DABE-7FD6-4956-B6DB-9620AC17B0EA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86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684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58A6C1A-2B56-42A7-9B1C-D99480E5A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1E473BF-3790-48C9-B2D5-925D9E59A0D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715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75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90987" y="3207715"/>
            <a:ext cx="1590179" cy="4985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6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29679B-BED0-447C-880A-53A4C28F0A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FD717C-6980-41D7-8894-74FA326E1F1F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Connecteur droit 9">
            <a:extLst>
              <a:ext uri="{FF2B5EF4-FFF2-40B4-BE49-F238E27FC236}">
                <a16:creationId xmlns:a16="http://schemas.microsoft.com/office/drawing/2014/main" id="{9C48992F-6AA6-48B0-A244-62CEDBF602C5}"/>
              </a:ext>
            </a:extLst>
          </p:cNvPr>
          <p:cNvCxnSpPr>
            <a:cxnSpLocks/>
          </p:cNvCxnSpPr>
          <p:nvPr userDrawn="1"/>
        </p:nvCxnSpPr>
        <p:spPr>
          <a:xfrm>
            <a:off x="4080763" y="6509583"/>
            <a:ext cx="7180361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322465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816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CCE5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CCE5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6"/>
            <a:ext cx="3448800" cy="3488400"/>
          </a:xfrm>
          <a:prstGeom prst="rect">
            <a:avLst/>
          </a:prstGeom>
          <a:noFill/>
          <a:ln>
            <a:solidFill>
              <a:srgbClr val="CCE5FF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9829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rme libre 25">
            <a:extLst>
              <a:ext uri="{FF2B5EF4-FFF2-40B4-BE49-F238E27FC236}">
                <a16:creationId xmlns:a16="http://schemas.microsoft.com/office/drawing/2014/main" id="{C98CE8FB-1587-CBA4-6976-E73C6000F52C}"/>
              </a:ext>
            </a:extLst>
          </p:cNvPr>
          <p:cNvSpPr/>
          <p:nvPr userDrawn="1"/>
        </p:nvSpPr>
        <p:spPr>
          <a:xfrm>
            <a:off x="2" y="0"/>
            <a:ext cx="4412009" cy="6858446"/>
          </a:xfrm>
          <a:custGeom>
            <a:avLst/>
            <a:gdLst>
              <a:gd name="connsiteX0" fmla="*/ 0 w 4412009"/>
              <a:gd name="connsiteY0" fmla="*/ 0 h 6858446"/>
              <a:gd name="connsiteX1" fmla="*/ 3551499 w 4412009"/>
              <a:gd name="connsiteY1" fmla="*/ 0 h 6858446"/>
              <a:gd name="connsiteX2" fmla="*/ 4412009 w 4412009"/>
              <a:gd name="connsiteY2" fmla="*/ 0 h 6858446"/>
              <a:gd name="connsiteX3" fmla="*/ 4405273 w 4412009"/>
              <a:gd name="connsiteY3" fmla="*/ 14157 h 6858446"/>
              <a:gd name="connsiteX4" fmla="*/ 3615788 w 4412009"/>
              <a:gd name="connsiteY4" fmla="*/ 3464561 h 6858446"/>
              <a:gd name="connsiteX5" fmla="*/ 4334984 w 4412009"/>
              <a:gd name="connsiteY5" fmla="*/ 6707686 h 6858446"/>
              <a:gd name="connsiteX6" fmla="*/ 4404281 w 4412009"/>
              <a:gd name="connsiteY6" fmla="*/ 6858000 h 6858446"/>
              <a:gd name="connsiteX7" fmla="*/ 3551499 w 4412009"/>
              <a:gd name="connsiteY7" fmla="*/ 6858000 h 6858446"/>
              <a:gd name="connsiteX8" fmla="*/ 3551499 w 4412009"/>
              <a:gd name="connsiteY8" fmla="*/ 6858446 h 6858446"/>
              <a:gd name="connsiteX9" fmla="*/ 0 w 4412009"/>
              <a:gd name="connsiteY9" fmla="*/ 6858446 h 6858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12009" h="6858446">
                <a:moveTo>
                  <a:pt x="0" y="0"/>
                </a:moveTo>
                <a:lnTo>
                  <a:pt x="3551499" y="0"/>
                </a:lnTo>
                <a:lnTo>
                  <a:pt x="4412009" y="0"/>
                </a:lnTo>
                <a:lnTo>
                  <a:pt x="4405273" y="14157"/>
                </a:lnTo>
                <a:cubicBezTo>
                  <a:pt x="4138573" y="591059"/>
                  <a:pt x="3612356" y="1940161"/>
                  <a:pt x="3615788" y="3464561"/>
                </a:cubicBezTo>
                <a:cubicBezTo>
                  <a:pt x="3618933" y="4861928"/>
                  <a:pt x="4057939" y="6086254"/>
                  <a:pt x="4334984" y="6707686"/>
                </a:cubicBezTo>
                <a:lnTo>
                  <a:pt x="4404281" y="6858000"/>
                </a:lnTo>
                <a:lnTo>
                  <a:pt x="3551499" y="6858000"/>
                </a:lnTo>
                <a:lnTo>
                  <a:pt x="3551499" y="6858446"/>
                </a:lnTo>
                <a:lnTo>
                  <a:pt x="0" y="68584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9" name="Forme libre 18">
            <a:extLst>
              <a:ext uri="{FF2B5EF4-FFF2-40B4-BE49-F238E27FC236}">
                <a16:creationId xmlns:a16="http://schemas.microsoft.com/office/drawing/2014/main" id="{6123833A-71F4-D26F-6A66-68CEA9A97F0E}"/>
              </a:ext>
            </a:extLst>
          </p:cNvPr>
          <p:cNvSpPr/>
          <p:nvPr userDrawn="1"/>
        </p:nvSpPr>
        <p:spPr>
          <a:xfrm>
            <a:off x="2" y="6857996"/>
            <a:ext cx="3551499" cy="450"/>
          </a:xfrm>
          <a:custGeom>
            <a:avLst/>
            <a:gdLst>
              <a:gd name="connsiteX0" fmla="*/ 0 w 3551499"/>
              <a:gd name="connsiteY0" fmla="*/ 0 h 450"/>
              <a:gd name="connsiteX1" fmla="*/ 1323107 w 3551499"/>
              <a:gd name="connsiteY1" fmla="*/ 0 h 450"/>
              <a:gd name="connsiteX2" fmla="*/ 1323107 w 3551499"/>
              <a:gd name="connsiteY2" fmla="*/ 4 h 450"/>
              <a:gd name="connsiteX3" fmla="*/ 3551499 w 3551499"/>
              <a:gd name="connsiteY3" fmla="*/ 4 h 450"/>
              <a:gd name="connsiteX4" fmla="*/ 3551499 w 3551499"/>
              <a:gd name="connsiteY4" fmla="*/ 450 h 450"/>
              <a:gd name="connsiteX5" fmla="*/ 0 w 3551499"/>
              <a:gd name="connsiteY5" fmla="*/ 450 h 450"/>
              <a:gd name="connsiteX6" fmla="*/ 0 w 3551499"/>
              <a:gd name="connsiteY6" fmla="*/ 0 h 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1499" h="450">
                <a:moveTo>
                  <a:pt x="0" y="0"/>
                </a:moveTo>
                <a:lnTo>
                  <a:pt x="1323107" y="0"/>
                </a:lnTo>
                <a:lnTo>
                  <a:pt x="1323107" y="4"/>
                </a:lnTo>
                <a:lnTo>
                  <a:pt x="3551499" y="4"/>
                </a:lnTo>
                <a:lnTo>
                  <a:pt x="3551499" y="450"/>
                </a:lnTo>
                <a:lnTo>
                  <a:pt x="0" y="45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466C0EA-42C8-7938-0388-1192CA636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008" y="2888588"/>
            <a:ext cx="3131243" cy="65455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600"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96C4CF5-79CF-49FB-CC4F-A3DBAE0A3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74946" y="1341054"/>
            <a:ext cx="6816014" cy="4176339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 sz="1800">
                <a:solidFill>
                  <a:schemeClr val="bg1"/>
                </a:solidFill>
                <a:latin typeface="+mj-lt"/>
                <a:cs typeface="Gellix" pitchFamily="50" charset="0"/>
              </a:defRPr>
            </a:lvl1pPr>
            <a:lvl2pPr>
              <a:defRPr sz="1800">
                <a:latin typeface="Gellix" pitchFamily="50" charset="0"/>
                <a:cs typeface="Gellix" pitchFamily="50" charset="0"/>
              </a:defRPr>
            </a:lvl2pPr>
            <a:lvl3pPr>
              <a:defRPr sz="1800">
                <a:latin typeface="Gellix" pitchFamily="50" charset="0"/>
                <a:cs typeface="Gellix" pitchFamily="50" charset="0"/>
              </a:defRPr>
            </a:lvl3pPr>
            <a:lvl4pPr>
              <a:defRPr sz="1800">
                <a:latin typeface="Gellix" pitchFamily="50" charset="0"/>
                <a:cs typeface="Gellix" pitchFamily="50" charset="0"/>
              </a:defRPr>
            </a:lvl4pPr>
            <a:lvl5pPr>
              <a:defRPr sz="1800">
                <a:latin typeface="Gellix" pitchFamily="50" charset="0"/>
                <a:cs typeface="Gellix" pitchFamily="50" charset="0"/>
              </a:defRPr>
            </a:lvl5pPr>
          </a:lstStyle>
          <a:p>
            <a:pPr lvl="0"/>
            <a:r>
              <a:rPr lang="en-US" dirty="0"/>
              <a:t>p.1 	Title section</a:t>
            </a:r>
          </a:p>
        </p:txBody>
      </p:sp>
      <p:sp>
        <p:nvSpPr>
          <p:cNvPr id="17" name="Espace réservé du numéro de diapositive 8">
            <a:extLst>
              <a:ext uri="{FF2B5EF4-FFF2-40B4-BE49-F238E27FC236}">
                <a16:creationId xmlns:a16="http://schemas.microsoft.com/office/drawing/2014/main" id="{B7365F2B-B792-0029-A3F8-A210E01F0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  <a:latin typeface="+mj-lt"/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67605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378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CCE5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CCE5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69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74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CCE5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88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780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8AD2FD-3D4A-4F8C-8F61-3B4348EC80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5FF4CC0-ACA8-4905-8DAB-8B79DCCA6BA4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90987" y="3207715"/>
            <a:ext cx="1590179" cy="4985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16130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BFF"/>
            </a:gs>
            <a:gs pos="100000">
              <a:srgbClr val="005E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087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E9BF0D9-9F59-4A46-925A-8404AB3E28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6FE3102-9F54-46C3-B9D2-777715CF96FB}"/>
              </a:ext>
            </a:extLst>
          </p:cNvPr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90987" y="2577934"/>
            <a:ext cx="27582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4002310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351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0608764-0A3A-C135-67E1-8A7B67001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93792F-99DF-946C-52B7-3D6F2EFEDDA0}"/>
              </a:ext>
            </a:extLst>
          </p:cNvPr>
          <p:cNvSpPr/>
          <p:nvPr userDrawn="1"/>
        </p:nvSpPr>
        <p:spPr>
          <a:xfrm>
            <a:off x="0" y="0"/>
            <a:ext cx="12192000" cy="6868224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A5FA9D-18EA-5955-4503-C3FC2ED9B0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7459" y="1053298"/>
            <a:ext cx="5777073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A164BC-F405-F2EA-D460-7905445B2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7788" y="3486872"/>
            <a:ext cx="5777073" cy="1559690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2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259F1E60-9041-8930-D657-799B2CC8E8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6CBDFA2-5AC4-CB55-E73F-4C444D9310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94400" y="9367259"/>
            <a:ext cx="1884124" cy="5692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755C594-7276-8242-3823-BB785DC27F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45510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55A025A-D44B-2AFF-51EE-5C9612F84A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9270" y="671160"/>
            <a:ext cx="5515680" cy="551568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67EF0CB-1014-81D3-0648-D8EAF2FFA1B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920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1C8D782-7EAD-48A3-F4D6-1234DDE907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0224"/>
            <a:ext cx="12192000" cy="686822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1CF42B75-6BE2-77BF-4B4F-62ABF250E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4330" y="5831579"/>
            <a:ext cx="1882983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2905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2EFB1EBA-F864-9DAB-E0E8-D55EC7CD81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77825" y="2233613"/>
            <a:ext cx="2292350" cy="2292350"/>
          </a:xfrm>
          <a:prstGeom prst="ellipse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2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6147CBE-B4A2-BD62-6574-08B0B229B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1871" y="1053298"/>
            <a:ext cx="6326492" cy="231783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b="0" i="0">
                <a:solidFill>
                  <a:schemeClr val="bg1"/>
                </a:solidFill>
                <a:latin typeface="+mj-lt"/>
                <a:cs typeface="Gellix" pitchFamily="2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8A15A5-FBE9-95DC-8D91-E06D40154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42200" y="3486872"/>
            <a:ext cx="6326492" cy="1758896"/>
          </a:xfrm>
          <a:prstGeom prst="rect">
            <a:avLst/>
          </a:prstGeom>
        </p:spPr>
        <p:txBody>
          <a:bodyPr/>
          <a:lstStyle>
            <a:lvl1pPr>
              <a:defRPr sz="2400" b="1" i="0" cap="none" spc="0">
                <a:ln w="0"/>
                <a:solidFill>
                  <a:schemeClr val="tx1"/>
                </a:solidFill>
                <a:effectLst/>
                <a:latin typeface="+mj-lt"/>
                <a:cs typeface="Gellix" pitchFamily="2" charset="77"/>
              </a:defRPr>
            </a:lvl1pPr>
            <a:lvl2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3pPr>
            <a:lvl4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4pPr>
            <a:lvl5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5pPr>
          </a:lstStyle>
          <a:p>
            <a:pPr lvl="0"/>
            <a:r>
              <a:rPr lang="en-GB" dirty="0"/>
              <a:t>Subtitle</a:t>
            </a:r>
            <a:endParaRPr lang="en-US" dirty="0"/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A4B84276-4126-535F-A338-69FF00606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24"/>
            <a:ext cx="3464719" cy="68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384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541632" y="6309359"/>
            <a:ext cx="216027" cy="400812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7825739" y="6509004"/>
            <a:ext cx="3435985" cy="0"/>
          </a:xfrm>
          <a:custGeom>
            <a:avLst/>
            <a:gdLst/>
            <a:ahLst/>
            <a:cxnLst/>
            <a:rect l="l" t="t" r="r" b="b"/>
            <a:pathLst>
              <a:path w="3435984">
                <a:moveTo>
                  <a:pt x="0" y="0"/>
                </a:moveTo>
                <a:lnTo>
                  <a:pt x="3435858" y="0"/>
                </a:lnTo>
              </a:path>
            </a:pathLst>
          </a:custGeom>
          <a:ln w="63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7037831" y="0"/>
            <a:ext cx="5154295" cy="6858000"/>
          </a:xfrm>
          <a:custGeom>
            <a:avLst/>
            <a:gdLst/>
            <a:ahLst/>
            <a:cxnLst/>
            <a:rect l="l" t="t" r="r" b="b"/>
            <a:pathLst>
              <a:path w="5154295" h="6858000">
                <a:moveTo>
                  <a:pt x="5154168" y="0"/>
                </a:moveTo>
                <a:lnTo>
                  <a:pt x="796163" y="0"/>
                </a:lnTo>
                <a:lnTo>
                  <a:pt x="789432" y="14097"/>
                </a:lnTo>
                <a:lnTo>
                  <a:pt x="766293" y="64679"/>
                </a:lnTo>
                <a:lnTo>
                  <a:pt x="729502" y="147269"/>
                </a:lnTo>
                <a:lnTo>
                  <a:pt x="703738" y="206692"/>
                </a:lnTo>
                <a:lnTo>
                  <a:pt x="677110" y="269510"/>
                </a:lnTo>
                <a:lnTo>
                  <a:pt x="649723" y="335645"/>
                </a:lnTo>
                <a:lnTo>
                  <a:pt x="621682" y="405015"/>
                </a:lnTo>
                <a:lnTo>
                  <a:pt x="593094" y="477541"/>
                </a:lnTo>
                <a:lnTo>
                  <a:pt x="564065" y="553143"/>
                </a:lnTo>
                <a:lnTo>
                  <a:pt x="534699" y="631741"/>
                </a:lnTo>
                <a:lnTo>
                  <a:pt x="505104" y="713255"/>
                </a:lnTo>
                <a:lnTo>
                  <a:pt x="475384" y="797604"/>
                </a:lnTo>
                <a:lnTo>
                  <a:pt x="445647" y="884709"/>
                </a:lnTo>
                <a:lnTo>
                  <a:pt x="415996" y="974489"/>
                </a:lnTo>
                <a:lnTo>
                  <a:pt x="386539" y="1066865"/>
                </a:lnTo>
                <a:lnTo>
                  <a:pt x="371916" y="1114002"/>
                </a:lnTo>
                <a:lnTo>
                  <a:pt x="357381" y="1161757"/>
                </a:lnTo>
                <a:lnTo>
                  <a:pt x="342947" y="1210121"/>
                </a:lnTo>
                <a:lnTo>
                  <a:pt x="328628" y="1259084"/>
                </a:lnTo>
                <a:lnTo>
                  <a:pt x="314436" y="1308636"/>
                </a:lnTo>
                <a:lnTo>
                  <a:pt x="300385" y="1358766"/>
                </a:lnTo>
                <a:lnTo>
                  <a:pt x="286489" y="1409466"/>
                </a:lnTo>
                <a:lnTo>
                  <a:pt x="272760" y="1460724"/>
                </a:lnTo>
                <a:lnTo>
                  <a:pt x="259211" y="1512531"/>
                </a:lnTo>
                <a:lnTo>
                  <a:pt x="245856" y="1564877"/>
                </a:lnTo>
                <a:lnTo>
                  <a:pt x="232709" y="1617752"/>
                </a:lnTo>
                <a:lnTo>
                  <a:pt x="219781" y="1671145"/>
                </a:lnTo>
                <a:lnTo>
                  <a:pt x="207087" y="1725047"/>
                </a:lnTo>
                <a:lnTo>
                  <a:pt x="194640" y="1779448"/>
                </a:lnTo>
                <a:lnTo>
                  <a:pt x="182453" y="1834338"/>
                </a:lnTo>
                <a:lnTo>
                  <a:pt x="170539" y="1889707"/>
                </a:lnTo>
                <a:lnTo>
                  <a:pt x="158911" y="1945544"/>
                </a:lnTo>
                <a:lnTo>
                  <a:pt x="147583" y="2001840"/>
                </a:lnTo>
                <a:lnTo>
                  <a:pt x="136568" y="2058585"/>
                </a:lnTo>
                <a:lnTo>
                  <a:pt x="125879" y="2115769"/>
                </a:lnTo>
                <a:lnTo>
                  <a:pt x="115530" y="2173381"/>
                </a:lnTo>
                <a:lnTo>
                  <a:pt x="105533" y="2231412"/>
                </a:lnTo>
                <a:lnTo>
                  <a:pt x="95902" y="2289852"/>
                </a:lnTo>
                <a:lnTo>
                  <a:pt x="86649" y="2348691"/>
                </a:lnTo>
                <a:lnTo>
                  <a:pt x="77789" y="2407918"/>
                </a:lnTo>
                <a:lnTo>
                  <a:pt x="69335" y="2467524"/>
                </a:lnTo>
                <a:lnTo>
                  <a:pt x="61299" y="2527499"/>
                </a:lnTo>
                <a:lnTo>
                  <a:pt x="53695" y="2587832"/>
                </a:lnTo>
                <a:lnTo>
                  <a:pt x="46536" y="2648514"/>
                </a:lnTo>
                <a:lnTo>
                  <a:pt x="39836" y="2709535"/>
                </a:lnTo>
                <a:lnTo>
                  <a:pt x="33607" y="2770885"/>
                </a:lnTo>
                <a:lnTo>
                  <a:pt x="27863" y="2832553"/>
                </a:lnTo>
                <a:lnTo>
                  <a:pt x="22617" y="2894529"/>
                </a:lnTo>
                <a:lnTo>
                  <a:pt x="17883" y="2956805"/>
                </a:lnTo>
                <a:lnTo>
                  <a:pt x="13672" y="3019369"/>
                </a:lnTo>
                <a:lnTo>
                  <a:pt x="10000" y="3082212"/>
                </a:lnTo>
                <a:lnTo>
                  <a:pt x="6879" y="3145323"/>
                </a:lnTo>
                <a:lnTo>
                  <a:pt x="4322" y="3208693"/>
                </a:lnTo>
                <a:lnTo>
                  <a:pt x="2342" y="3272312"/>
                </a:lnTo>
                <a:lnTo>
                  <a:pt x="953" y="3336169"/>
                </a:lnTo>
                <a:lnTo>
                  <a:pt x="168" y="3400255"/>
                </a:lnTo>
                <a:lnTo>
                  <a:pt x="0" y="3464560"/>
                </a:lnTo>
                <a:lnTo>
                  <a:pt x="431" y="3527012"/>
                </a:lnTo>
                <a:lnTo>
                  <a:pt x="1433" y="3589224"/>
                </a:lnTo>
                <a:lnTo>
                  <a:pt x="2993" y="3651188"/>
                </a:lnTo>
                <a:lnTo>
                  <a:pt x="5100" y="3712895"/>
                </a:lnTo>
                <a:lnTo>
                  <a:pt x="7742" y="3774336"/>
                </a:lnTo>
                <a:lnTo>
                  <a:pt x="10907" y="3835503"/>
                </a:lnTo>
                <a:lnTo>
                  <a:pt x="14582" y="3896387"/>
                </a:lnTo>
                <a:lnTo>
                  <a:pt x="18757" y="3956980"/>
                </a:lnTo>
                <a:lnTo>
                  <a:pt x="23418" y="4017273"/>
                </a:lnTo>
                <a:lnTo>
                  <a:pt x="28555" y="4077258"/>
                </a:lnTo>
                <a:lnTo>
                  <a:pt x="34155" y="4136925"/>
                </a:lnTo>
                <a:lnTo>
                  <a:pt x="40206" y="4196267"/>
                </a:lnTo>
                <a:lnTo>
                  <a:pt x="46696" y="4255274"/>
                </a:lnTo>
                <a:lnTo>
                  <a:pt x="53614" y="4313939"/>
                </a:lnTo>
                <a:lnTo>
                  <a:pt x="60947" y="4372253"/>
                </a:lnTo>
                <a:lnTo>
                  <a:pt x="68684" y="4430206"/>
                </a:lnTo>
                <a:lnTo>
                  <a:pt x="76813" y="4487791"/>
                </a:lnTo>
                <a:lnTo>
                  <a:pt x="85322" y="4544999"/>
                </a:lnTo>
                <a:lnTo>
                  <a:pt x="94198" y="4601821"/>
                </a:lnTo>
                <a:lnTo>
                  <a:pt x="103430" y="4658249"/>
                </a:lnTo>
                <a:lnTo>
                  <a:pt x="113006" y="4714274"/>
                </a:lnTo>
                <a:lnTo>
                  <a:pt x="122915" y="4769888"/>
                </a:lnTo>
                <a:lnTo>
                  <a:pt x="133143" y="4825082"/>
                </a:lnTo>
                <a:lnTo>
                  <a:pt x="143680" y="4879847"/>
                </a:lnTo>
                <a:lnTo>
                  <a:pt x="154513" y="4934175"/>
                </a:lnTo>
                <a:lnTo>
                  <a:pt x="165630" y="4988058"/>
                </a:lnTo>
                <a:lnTo>
                  <a:pt x="177020" y="5041486"/>
                </a:lnTo>
                <a:lnTo>
                  <a:pt x="188671" y="5094452"/>
                </a:lnTo>
                <a:lnTo>
                  <a:pt x="200570" y="5146946"/>
                </a:lnTo>
                <a:lnTo>
                  <a:pt x="212706" y="5198960"/>
                </a:lnTo>
                <a:lnTo>
                  <a:pt x="225066" y="5250485"/>
                </a:lnTo>
                <a:lnTo>
                  <a:pt x="237640" y="5301513"/>
                </a:lnTo>
                <a:lnTo>
                  <a:pt x="250414" y="5352036"/>
                </a:lnTo>
                <a:lnTo>
                  <a:pt x="263377" y="5402044"/>
                </a:lnTo>
                <a:lnTo>
                  <a:pt x="276518" y="5451530"/>
                </a:lnTo>
                <a:lnTo>
                  <a:pt x="289824" y="5500484"/>
                </a:lnTo>
                <a:lnTo>
                  <a:pt x="303283" y="5548898"/>
                </a:lnTo>
                <a:lnTo>
                  <a:pt x="316883" y="5596763"/>
                </a:lnTo>
                <a:lnTo>
                  <a:pt x="330613" y="5644071"/>
                </a:lnTo>
                <a:lnTo>
                  <a:pt x="344460" y="5690814"/>
                </a:lnTo>
                <a:lnTo>
                  <a:pt x="358413" y="5736982"/>
                </a:lnTo>
                <a:lnTo>
                  <a:pt x="386588" y="5827561"/>
                </a:lnTo>
                <a:lnTo>
                  <a:pt x="415042" y="5915740"/>
                </a:lnTo>
                <a:lnTo>
                  <a:pt x="443681" y="6001451"/>
                </a:lnTo>
                <a:lnTo>
                  <a:pt x="472407" y="6084624"/>
                </a:lnTo>
                <a:lnTo>
                  <a:pt x="501128" y="6165191"/>
                </a:lnTo>
                <a:lnTo>
                  <a:pt x="529745" y="6243083"/>
                </a:lnTo>
                <a:lnTo>
                  <a:pt x="558166" y="6318233"/>
                </a:lnTo>
                <a:lnTo>
                  <a:pt x="586293" y="6390571"/>
                </a:lnTo>
                <a:lnTo>
                  <a:pt x="614033" y="6460028"/>
                </a:lnTo>
                <a:lnTo>
                  <a:pt x="641288" y="6526536"/>
                </a:lnTo>
                <a:lnTo>
                  <a:pt x="667965" y="6590027"/>
                </a:lnTo>
                <a:lnTo>
                  <a:pt x="693968" y="6650432"/>
                </a:lnTo>
                <a:lnTo>
                  <a:pt x="719201" y="6707682"/>
                </a:lnTo>
                <a:lnTo>
                  <a:pt x="788416" y="6857999"/>
                </a:lnTo>
                <a:lnTo>
                  <a:pt x="5154168" y="6857999"/>
                </a:lnTo>
                <a:lnTo>
                  <a:pt x="5154168" y="0"/>
                </a:lnTo>
                <a:close/>
              </a:path>
            </a:pathLst>
          </a:custGeom>
          <a:solidFill>
            <a:srgbClr val="007A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691895" y="3313176"/>
            <a:ext cx="5775960" cy="0"/>
          </a:xfrm>
          <a:custGeom>
            <a:avLst/>
            <a:gdLst/>
            <a:ahLst/>
            <a:cxnLst/>
            <a:rect l="l" t="t" r="r" b="b"/>
            <a:pathLst>
              <a:path w="5775960">
                <a:moveTo>
                  <a:pt x="0" y="0"/>
                </a:moveTo>
                <a:lnTo>
                  <a:pt x="5775579" y="0"/>
                </a:lnTo>
              </a:path>
            </a:pathLst>
          </a:custGeom>
          <a:ln w="12700">
            <a:solidFill>
              <a:srgbClr val="007A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510771" y="6309359"/>
            <a:ext cx="246888" cy="402336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0" y="6509004"/>
            <a:ext cx="11261090" cy="0"/>
          </a:xfrm>
          <a:custGeom>
            <a:avLst/>
            <a:gdLst/>
            <a:ahLst/>
            <a:cxnLst/>
            <a:rect l="l" t="t" r="r" b="b"/>
            <a:pathLst>
              <a:path w="11261090">
                <a:moveTo>
                  <a:pt x="0" y="0"/>
                </a:moveTo>
                <a:lnTo>
                  <a:pt x="1126109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70026" y="2641854"/>
            <a:ext cx="10651947" cy="559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571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61.xml"/><Relationship Id="rId47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82.xml"/><Relationship Id="rId68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3" Type="http://schemas.openxmlformats.org/officeDocument/2006/relationships/slideLayout" Target="../slideLayouts/slideLayout72.xml"/><Relationship Id="rId58" Type="http://schemas.openxmlformats.org/officeDocument/2006/relationships/slideLayout" Target="../slideLayouts/slideLayout77.xml"/><Relationship Id="rId66" Type="http://schemas.openxmlformats.org/officeDocument/2006/relationships/slideLayout" Target="../slideLayouts/slideLayout85.xml"/><Relationship Id="rId74" Type="http://schemas.openxmlformats.org/officeDocument/2006/relationships/slideLayout" Target="../slideLayouts/slideLayout93.xml"/><Relationship Id="rId79" Type="http://schemas.openxmlformats.org/officeDocument/2006/relationships/image" Target="../media/image12.png"/><Relationship Id="rId5" Type="http://schemas.openxmlformats.org/officeDocument/2006/relationships/slideLayout" Target="../slideLayouts/slideLayout24.xml"/><Relationship Id="rId61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48" Type="http://schemas.openxmlformats.org/officeDocument/2006/relationships/slideLayout" Target="../slideLayouts/slideLayout67.xml"/><Relationship Id="rId56" Type="http://schemas.openxmlformats.org/officeDocument/2006/relationships/slideLayout" Target="../slideLayouts/slideLayout75.xml"/><Relationship Id="rId64" Type="http://schemas.openxmlformats.org/officeDocument/2006/relationships/slideLayout" Target="../slideLayouts/slideLayout83.xml"/><Relationship Id="rId69" Type="http://schemas.openxmlformats.org/officeDocument/2006/relationships/slideLayout" Target="../slideLayouts/slideLayout88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27.xml"/><Relationship Id="rId51" Type="http://schemas.openxmlformats.org/officeDocument/2006/relationships/slideLayout" Target="../slideLayouts/slideLayout70.xml"/><Relationship Id="rId72" Type="http://schemas.openxmlformats.org/officeDocument/2006/relationships/slideLayout" Target="../slideLayouts/slideLayout91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59" Type="http://schemas.openxmlformats.org/officeDocument/2006/relationships/slideLayout" Target="../slideLayouts/slideLayout78.xml"/><Relationship Id="rId67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60.xml"/><Relationship Id="rId54" Type="http://schemas.openxmlformats.org/officeDocument/2006/relationships/slideLayout" Target="../slideLayouts/slideLayout73.xml"/><Relationship Id="rId62" Type="http://schemas.openxmlformats.org/officeDocument/2006/relationships/slideLayout" Target="../slideLayouts/slideLayout81.xml"/><Relationship Id="rId70" Type="http://schemas.openxmlformats.org/officeDocument/2006/relationships/slideLayout" Target="../slideLayouts/slideLayout89.xml"/><Relationship Id="rId75" Type="http://schemas.openxmlformats.org/officeDocument/2006/relationships/theme" Target="../theme/theme5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49" Type="http://schemas.openxmlformats.org/officeDocument/2006/relationships/slideLayout" Target="../slideLayouts/slideLayout68.xml"/><Relationship Id="rId57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52" Type="http://schemas.openxmlformats.org/officeDocument/2006/relationships/slideLayout" Target="../slideLayouts/slideLayout71.xml"/><Relationship Id="rId60" Type="http://schemas.openxmlformats.org/officeDocument/2006/relationships/slideLayout" Target="../slideLayouts/slideLayout79.xml"/><Relationship Id="rId65" Type="http://schemas.openxmlformats.org/officeDocument/2006/relationships/slideLayout" Target="../slideLayouts/slideLayout84.xml"/><Relationship Id="rId73" Type="http://schemas.openxmlformats.org/officeDocument/2006/relationships/slideLayout" Target="../slideLayouts/slideLayout92.xml"/><Relationship Id="rId78" Type="http://schemas.openxmlformats.org/officeDocument/2006/relationships/image" Target="../media/image1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69.xml"/><Relationship Id="rId55" Type="http://schemas.openxmlformats.org/officeDocument/2006/relationships/slideLayout" Target="../slideLayouts/slideLayout74.xml"/><Relationship Id="rId76" Type="http://schemas.openxmlformats.org/officeDocument/2006/relationships/tags" Target="../tags/tag1.xml"/><Relationship Id="rId7" Type="http://schemas.openxmlformats.org/officeDocument/2006/relationships/slideLayout" Target="../slideLayouts/slideLayout26.xml"/><Relationship Id="rId71" Type="http://schemas.openxmlformats.org/officeDocument/2006/relationships/slideLayout" Target="../slideLayouts/slideLayout90.xml"/><Relationship Id="rId2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106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1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E158F1F5-2C8A-07A9-1AAF-49164AFE81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39312" y="6252521"/>
            <a:ext cx="1309785" cy="3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19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E158F1F5-2C8A-07A9-1AAF-49164AFE81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3760" y="5831579"/>
            <a:ext cx="1884124" cy="56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6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F5276-780B-D2DD-51CE-2DDC94589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1F47D69-D11F-86E8-B1FC-5B38F45EB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32C5D15-37B3-D8FB-8490-BEF82E743F0B}"/>
              </a:ext>
            </a:extLst>
          </p:cNvPr>
          <p:cNvCxnSpPr>
            <a:cxnSpLocks/>
          </p:cNvCxnSpPr>
          <p:nvPr userDrawn="1"/>
        </p:nvCxnSpPr>
        <p:spPr>
          <a:xfrm>
            <a:off x="692993" y="6509583"/>
            <a:ext cx="1056813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0780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F5276-780B-D2DD-51CE-2DDC94589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1F47D69-D11F-86E8-B1FC-5B38F45EB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32C5D15-37B3-D8FB-8490-BEF82E743F0B}"/>
              </a:ext>
            </a:extLst>
          </p:cNvPr>
          <p:cNvCxnSpPr>
            <a:cxnSpLocks/>
          </p:cNvCxnSpPr>
          <p:nvPr userDrawn="1"/>
        </p:nvCxnSpPr>
        <p:spPr>
          <a:xfrm>
            <a:off x="692993" y="6509583"/>
            <a:ext cx="1056813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955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1361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1982099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90986" y="2312417"/>
            <a:ext cx="10650987" cy="37010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91200" y="604004"/>
            <a:ext cx="10799759" cy="601700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1FD4984-2D30-4D7A-935F-0FC8C8362C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019095" y="6338884"/>
            <a:ext cx="471864" cy="300757"/>
          </a:xfrm>
          <a:prstGeom prst="rect">
            <a:avLst/>
          </a:prstGeom>
          <a:noFill/>
        </p:spPr>
        <p:txBody>
          <a:bodyPr wrap="square" lIns="91440" tIns="45720" rIns="0" bIns="4572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9" name="Connecteur droit 9">
            <a:extLst>
              <a:ext uri="{FF2B5EF4-FFF2-40B4-BE49-F238E27FC236}">
                <a16:creationId xmlns:a16="http://schemas.microsoft.com/office/drawing/2014/main" id="{017E2FD1-7B4F-4A2E-8CDE-1F799996B195}"/>
              </a:ext>
            </a:extLst>
          </p:cNvPr>
          <p:cNvCxnSpPr>
            <a:cxnSpLocks/>
          </p:cNvCxnSpPr>
          <p:nvPr userDrawn="1"/>
        </p:nvCxnSpPr>
        <p:spPr>
          <a:xfrm>
            <a:off x="692993" y="6509583"/>
            <a:ext cx="10568131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61639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  <p:sldLayoutId id="2147483783" r:id="rId41"/>
    <p:sldLayoutId id="2147483784" r:id="rId42"/>
    <p:sldLayoutId id="2147483785" r:id="rId43"/>
    <p:sldLayoutId id="2147483786" r:id="rId44"/>
    <p:sldLayoutId id="2147483787" r:id="rId45"/>
    <p:sldLayoutId id="2147483788" r:id="rId46"/>
    <p:sldLayoutId id="2147483789" r:id="rId47"/>
    <p:sldLayoutId id="2147483790" r:id="rId48"/>
    <p:sldLayoutId id="2147483791" r:id="rId49"/>
    <p:sldLayoutId id="2147483792" r:id="rId50"/>
    <p:sldLayoutId id="2147483793" r:id="rId51"/>
    <p:sldLayoutId id="2147483794" r:id="rId52"/>
    <p:sldLayoutId id="2147483795" r:id="rId53"/>
    <p:sldLayoutId id="2147483796" r:id="rId54"/>
    <p:sldLayoutId id="2147483797" r:id="rId55"/>
    <p:sldLayoutId id="2147483798" r:id="rId56"/>
    <p:sldLayoutId id="2147483799" r:id="rId57"/>
    <p:sldLayoutId id="2147483800" r:id="rId58"/>
    <p:sldLayoutId id="2147483801" r:id="rId59"/>
    <p:sldLayoutId id="2147483802" r:id="rId60"/>
    <p:sldLayoutId id="2147483803" r:id="rId61"/>
    <p:sldLayoutId id="2147483804" r:id="rId62"/>
    <p:sldLayoutId id="2147483805" r:id="rId63"/>
    <p:sldLayoutId id="2147483806" r:id="rId64"/>
    <p:sldLayoutId id="2147483807" r:id="rId65"/>
    <p:sldLayoutId id="2147483808" r:id="rId66"/>
    <p:sldLayoutId id="2147483809" r:id="rId67"/>
    <p:sldLayoutId id="2147483810" r:id="rId68"/>
    <p:sldLayoutId id="2147483811" r:id="rId69"/>
    <p:sldLayoutId id="2147483812" r:id="rId70"/>
    <p:sldLayoutId id="2147483813" r:id="rId71"/>
    <p:sldLayoutId id="2147483814" r:id="rId72"/>
    <p:sldLayoutId id="2147483815" r:id="rId73"/>
    <p:sldLayoutId id="2147483816" r:id="rId7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7BFF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7BFF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7BFF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7BFF"/>
        </a:buClr>
        <a:buFont typeface="Arial" panose="020B0604020202020204" pitchFamily="34" charset="0"/>
        <a:buChar char="​"/>
        <a:defRPr lang="en-US" sz="1600" b="1" kern="1200">
          <a:solidFill>
            <a:srgbClr val="007BF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7BFF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7BFF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7BFF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7BFF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007BF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7BFF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007BFF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3">
          <p15:clr>
            <a:srgbClr val="F26B43"/>
          </p15:clr>
        </p15:guide>
        <p15:guide id="2" pos="496">
          <p15:clr>
            <a:srgbClr val="F26B43"/>
          </p15:clr>
        </p15:guide>
        <p15:guide id="3" pos="7222">
          <p15:clr>
            <a:srgbClr val="F26B43"/>
          </p15:clr>
        </p15:guide>
        <p15:guide id="4" orient="horz" pos="380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E158F1F5-2C8A-07A9-1AAF-49164AFE81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39312" y="6252521"/>
            <a:ext cx="1309785" cy="3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7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541632" y="6309359"/>
            <a:ext cx="216027" cy="40081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13560" y="225678"/>
            <a:ext cx="9564878" cy="757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07C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5553" y="1680540"/>
            <a:ext cx="10956290" cy="46596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97666" y="6402905"/>
            <a:ext cx="231775" cy="182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dirty="0">
                <a:solidFill>
                  <a:srgbClr val="000000"/>
                </a:solidFill>
              </a:r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244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F5276-780B-D2DD-51CE-2DDC94589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000"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1F47D69-D11F-86E8-B1FC-5B38F45EB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32C5D15-37B3-D8FB-8490-BEF82E743F0B}"/>
              </a:ext>
            </a:extLst>
          </p:cNvPr>
          <p:cNvCxnSpPr>
            <a:cxnSpLocks/>
          </p:cNvCxnSpPr>
          <p:nvPr userDrawn="1"/>
        </p:nvCxnSpPr>
        <p:spPr>
          <a:xfrm>
            <a:off x="692993" y="6509583"/>
            <a:ext cx="1056813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90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F5276-780B-D2DD-51CE-2DDC94589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11280" y="6308809"/>
            <a:ext cx="245667" cy="401549"/>
          </a:xfrm>
          <a:prstGeom prst="rect">
            <a:avLst/>
          </a:prstGeom>
        </p:spPr>
      </p:pic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1F47D69-D11F-86E8-B1FC-5B38F45EB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338884"/>
            <a:ext cx="471864" cy="30075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1">
                <a:solidFill>
                  <a:schemeClr val="bg1"/>
                </a:solidFill>
              </a:defRPr>
            </a:lvl1pPr>
          </a:lstStyle>
          <a:p>
            <a:fld id="{78A75652-2DD9-2242-928B-C4408E21A6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32C5D15-37B3-D8FB-8490-BEF82E743F0B}"/>
              </a:ext>
            </a:extLst>
          </p:cNvPr>
          <p:cNvCxnSpPr>
            <a:cxnSpLocks/>
          </p:cNvCxnSpPr>
          <p:nvPr userDrawn="1"/>
        </p:nvCxnSpPr>
        <p:spPr>
          <a:xfrm>
            <a:off x="692993" y="6509583"/>
            <a:ext cx="1056813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519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FFFFFF"/>
          </a:solidFill>
          <a:latin typeface="Gotham Mediu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1200"/>
        </a:spcAft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Gotham Medium" pitchFamily="2" charset="0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si.iccwbo.org/" TargetMode="External"/><Relationship Id="rId2" Type="http://schemas.openxmlformats.org/officeDocument/2006/relationships/hyperlink" Target="https://www.dsi.iccwbo.org/dsi-news-alerts-signup" TargetMode="Externa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1B511AC3-199A-6708-4934-7C65CF059E1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94863" y="2222254"/>
            <a:ext cx="2292350" cy="229235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FF61E7-7F7B-EB2F-0EF2-93A6453EC0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SG" dirty="0"/>
              <a:t>For discussion onl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SG" dirty="0"/>
              <a:t>2 October 2023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E5924A1-77F7-7314-4EE9-71469556C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Enabling the Transition from document to data with Scalable Digital Trust</a:t>
            </a:r>
          </a:p>
        </p:txBody>
      </p:sp>
    </p:spTree>
    <p:extLst>
      <p:ext uri="{BB962C8B-B14F-4D97-AF65-F5344CB8AC3E}">
        <p14:creationId xmlns:p14="http://schemas.microsoft.com/office/powerpoint/2010/main" val="226426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79B8EA-362D-4FB7-F6C8-9A303AA0D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75652-2DD9-2242-928B-C4408E21A69B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145FF-F920-AAC1-9C22-BE8E6770AEC5}"/>
              </a:ext>
            </a:extLst>
          </p:cNvPr>
          <p:cNvSpPr txBox="1">
            <a:spLocks/>
          </p:cNvSpPr>
          <p:nvPr/>
        </p:nvSpPr>
        <p:spPr>
          <a:xfrm>
            <a:off x="603250" y="541418"/>
            <a:ext cx="10985500" cy="580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0" marR="0" indent="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0" dirty="0">
                <a:solidFill>
                  <a:schemeClr val="bg1"/>
                </a:solidFill>
                <a:latin typeface="+mj-lt"/>
                <a:ea typeface="+mj-ea"/>
                <a:cs typeface="Gellix" pitchFamily="2" charset="77"/>
              </a:rPr>
              <a:t>What are we creating</a:t>
            </a:r>
            <a:endParaRPr lang="en-SG" sz="3600" b="0" dirty="0">
              <a:solidFill>
                <a:schemeClr val="bg1"/>
              </a:solidFill>
              <a:latin typeface="+mj-lt"/>
              <a:ea typeface="+mj-ea"/>
              <a:cs typeface="Gellix" pitchFamily="2" charset="77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261AC4D-B757-201B-27A1-0782625BF087}"/>
              </a:ext>
            </a:extLst>
          </p:cNvPr>
          <p:cNvSpPr txBox="1">
            <a:spLocks/>
          </p:cNvSpPr>
          <p:nvPr/>
        </p:nvSpPr>
        <p:spPr>
          <a:xfrm>
            <a:off x="603250" y="1121457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304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609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914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1219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15240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1828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2133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2438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2743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defTabSz="914400" fontAlgn="auto">
              <a:lnSpc>
                <a:spcPct val="15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ICC DSI and the Digital Governance Council (DGC) of Canada are collaborating to develop a Conformity Assessment program for systems and services that enable the electronic exchange, management, and interoperation of trade documentation in digital forms.  </a:t>
            </a:r>
          </a:p>
          <a:p>
            <a:pPr marL="0" marR="0" lvl="0" indent="0" defTabSz="914400" fontAlgn="auto">
              <a:lnSpc>
                <a:spcPct val="15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The scheme is being developed within the DGC’s Digital Trust Conformity Assessment program which brings together standards, assessment methodologies, accreditation programs and communities to engender digital trust that is principles-driven, evidence-based and open-source by design.</a:t>
            </a:r>
            <a:endParaRPr lang="en-SG" sz="2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D750DA-E060-9F5E-E3D4-405B54E35A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0893" y="4865951"/>
            <a:ext cx="2787650" cy="7670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D3622D-B0DF-C286-8D26-5ADBC3C0D7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4682" y="4459060"/>
            <a:ext cx="2943225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546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79B8EA-362D-4FB7-F6C8-9A303AA0D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9096" y="6264121"/>
            <a:ext cx="471864" cy="30075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75652-2DD9-2242-928B-C4408E21A69B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8" name="From Paper through to Verifiable Data Elements">
            <a:extLst>
              <a:ext uri="{FF2B5EF4-FFF2-40B4-BE49-F238E27FC236}">
                <a16:creationId xmlns:a16="http://schemas.microsoft.com/office/drawing/2014/main" id="{8D757D3D-6696-CCEF-A5F2-35056DCBFB49}"/>
              </a:ext>
            </a:extLst>
          </p:cNvPr>
          <p:cNvSpPr txBox="1">
            <a:spLocks/>
          </p:cNvSpPr>
          <p:nvPr/>
        </p:nvSpPr>
        <p:spPr>
          <a:xfrm>
            <a:off x="446690" y="752658"/>
            <a:ext cx="10985500" cy="467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tIns="45719" rIns="45719" bIns="45719">
            <a:normAutofit/>
          </a:bodyPr>
          <a:lstStyle>
            <a:lvl1pPr marL="0" marR="0" indent="0" algn="l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50" b="1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609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914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1219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15240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1828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2133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2438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2743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spc="-85" dirty="0">
                <a:solidFill>
                  <a:schemeClr val="bg1"/>
                </a:solidFill>
                <a:latin typeface="+mj-lt"/>
                <a:ea typeface="+mj-ea"/>
                <a:cs typeface="Gellix" pitchFamily="2" charset="77"/>
              </a:rPr>
              <a:t>From Paper through to Verifiable Data Element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A224FAF-B61C-8AA7-7F29-21BE56A0518C}"/>
              </a:ext>
            </a:extLst>
          </p:cNvPr>
          <p:cNvSpPr/>
          <p:nvPr/>
        </p:nvSpPr>
        <p:spPr>
          <a:xfrm>
            <a:off x="215736" y="1024883"/>
            <a:ext cx="11692379" cy="1827236"/>
          </a:xfrm>
          <a:custGeom>
            <a:avLst/>
            <a:gdLst>
              <a:gd name="connsiteX0" fmla="*/ 0 w 10692071"/>
              <a:gd name="connsiteY0" fmla="*/ 413675 h 1654698"/>
              <a:gd name="connsiteX1" fmla="*/ 9864722 w 10692071"/>
              <a:gd name="connsiteY1" fmla="*/ 413675 h 1654698"/>
              <a:gd name="connsiteX2" fmla="*/ 9864722 w 10692071"/>
              <a:gd name="connsiteY2" fmla="*/ 0 h 1654698"/>
              <a:gd name="connsiteX3" fmla="*/ 10692071 w 10692071"/>
              <a:gd name="connsiteY3" fmla="*/ 827349 h 1654698"/>
              <a:gd name="connsiteX4" fmla="*/ 9864722 w 10692071"/>
              <a:gd name="connsiteY4" fmla="*/ 1654698 h 1654698"/>
              <a:gd name="connsiteX5" fmla="*/ 9864722 w 10692071"/>
              <a:gd name="connsiteY5" fmla="*/ 1241024 h 1654698"/>
              <a:gd name="connsiteX6" fmla="*/ 0 w 10692071"/>
              <a:gd name="connsiteY6" fmla="*/ 1241024 h 1654698"/>
              <a:gd name="connsiteX7" fmla="*/ 0 w 10692071"/>
              <a:gd name="connsiteY7" fmla="*/ 413675 h 165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92071" h="1654698">
                <a:moveTo>
                  <a:pt x="0" y="413675"/>
                </a:moveTo>
                <a:lnTo>
                  <a:pt x="9864722" y="413675"/>
                </a:lnTo>
                <a:lnTo>
                  <a:pt x="9864722" y="0"/>
                </a:lnTo>
                <a:lnTo>
                  <a:pt x="10692071" y="827349"/>
                </a:lnTo>
                <a:lnTo>
                  <a:pt x="9864722" y="1654698"/>
                </a:lnTo>
                <a:lnTo>
                  <a:pt x="9864722" y="1241024"/>
                </a:lnTo>
                <a:lnTo>
                  <a:pt x="0" y="1241024"/>
                </a:lnTo>
                <a:lnTo>
                  <a:pt x="0" y="413675"/>
                </a:lnTo>
                <a:close/>
              </a:path>
            </a:pathLst>
          </a:custGeom>
          <a:solidFill>
            <a:srgbClr val="003462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61D836">
                <a:shade val="8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520355" rIns="667674" bIns="676357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[0] Exchange of Physical Paper</a:t>
            </a:r>
            <a:endParaRPr lang="en-SG" sz="2000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3749C99-8A89-2828-F0DE-7C71E25D1B78}"/>
              </a:ext>
            </a:extLst>
          </p:cNvPr>
          <p:cNvSpPr/>
          <p:nvPr/>
        </p:nvSpPr>
        <p:spPr>
          <a:xfrm>
            <a:off x="1581783" y="1607832"/>
            <a:ext cx="10326332" cy="2144990"/>
          </a:xfrm>
          <a:custGeom>
            <a:avLst/>
            <a:gdLst>
              <a:gd name="connsiteX0" fmla="*/ 0 w 9274896"/>
              <a:gd name="connsiteY0" fmla="*/ 413675 h 1654698"/>
              <a:gd name="connsiteX1" fmla="*/ 8447547 w 9274896"/>
              <a:gd name="connsiteY1" fmla="*/ 413675 h 1654698"/>
              <a:gd name="connsiteX2" fmla="*/ 8447547 w 9274896"/>
              <a:gd name="connsiteY2" fmla="*/ 0 h 1654698"/>
              <a:gd name="connsiteX3" fmla="*/ 9274896 w 9274896"/>
              <a:gd name="connsiteY3" fmla="*/ 827349 h 1654698"/>
              <a:gd name="connsiteX4" fmla="*/ 8447547 w 9274896"/>
              <a:gd name="connsiteY4" fmla="*/ 1654698 h 1654698"/>
              <a:gd name="connsiteX5" fmla="*/ 8447547 w 9274896"/>
              <a:gd name="connsiteY5" fmla="*/ 1241024 h 1654698"/>
              <a:gd name="connsiteX6" fmla="*/ 0 w 9274896"/>
              <a:gd name="connsiteY6" fmla="*/ 1241024 h 1654698"/>
              <a:gd name="connsiteX7" fmla="*/ 0 w 9274896"/>
              <a:gd name="connsiteY7" fmla="*/ 413675 h 165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74896" h="1654698">
                <a:moveTo>
                  <a:pt x="0" y="413675"/>
                </a:moveTo>
                <a:lnTo>
                  <a:pt x="8447547" y="413675"/>
                </a:lnTo>
                <a:lnTo>
                  <a:pt x="8447547" y="0"/>
                </a:lnTo>
                <a:lnTo>
                  <a:pt x="9274896" y="827349"/>
                </a:lnTo>
                <a:lnTo>
                  <a:pt x="8447547" y="1654698"/>
                </a:lnTo>
                <a:lnTo>
                  <a:pt x="8447547" y="1241024"/>
                </a:lnTo>
                <a:lnTo>
                  <a:pt x="0" y="1241024"/>
                </a:lnTo>
                <a:lnTo>
                  <a:pt x="0" y="413675"/>
                </a:lnTo>
                <a:close/>
              </a:path>
            </a:pathLst>
          </a:custGeom>
          <a:solidFill>
            <a:srgbClr val="003462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61D836">
                <a:shade val="8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520355" rIns="667674" bIns="676357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</a:pPr>
            <a:r>
              <a:rPr lang="en-SG" sz="2000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[1] paper substitutes - PDF via mail, PDF on registries, central, pseudo-decentralised DLT purporting authenticity 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EC3E3D9-F983-A5C8-22E9-D6F777B3492C}"/>
              </a:ext>
            </a:extLst>
          </p:cNvPr>
          <p:cNvSpPr/>
          <p:nvPr/>
        </p:nvSpPr>
        <p:spPr>
          <a:xfrm>
            <a:off x="2633931" y="2617540"/>
            <a:ext cx="9115247" cy="2144990"/>
          </a:xfrm>
          <a:custGeom>
            <a:avLst/>
            <a:gdLst>
              <a:gd name="connsiteX0" fmla="*/ 0 w 7172343"/>
              <a:gd name="connsiteY0" fmla="*/ 413675 h 1654698"/>
              <a:gd name="connsiteX1" fmla="*/ 6344994 w 7172343"/>
              <a:gd name="connsiteY1" fmla="*/ 413675 h 1654698"/>
              <a:gd name="connsiteX2" fmla="*/ 6344994 w 7172343"/>
              <a:gd name="connsiteY2" fmla="*/ 0 h 1654698"/>
              <a:gd name="connsiteX3" fmla="*/ 7172343 w 7172343"/>
              <a:gd name="connsiteY3" fmla="*/ 827349 h 1654698"/>
              <a:gd name="connsiteX4" fmla="*/ 6344994 w 7172343"/>
              <a:gd name="connsiteY4" fmla="*/ 1654698 h 1654698"/>
              <a:gd name="connsiteX5" fmla="*/ 6344994 w 7172343"/>
              <a:gd name="connsiteY5" fmla="*/ 1241024 h 1654698"/>
              <a:gd name="connsiteX6" fmla="*/ 0 w 7172343"/>
              <a:gd name="connsiteY6" fmla="*/ 1241024 h 1654698"/>
              <a:gd name="connsiteX7" fmla="*/ 0 w 7172343"/>
              <a:gd name="connsiteY7" fmla="*/ 413675 h 165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343" h="1654698">
                <a:moveTo>
                  <a:pt x="0" y="413675"/>
                </a:moveTo>
                <a:lnTo>
                  <a:pt x="6344994" y="413675"/>
                </a:lnTo>
                <a:lnTo>
                  <a:pt x="6344994" y="0"/>
                </a:lnTo>
                <a:lnTo>
                  <a:pt x="7172343" y="827349"/>
                </a:lnTo>
                <a:lnTo>
                  <a:pt x="6344994" y="1654698"/>
                </a:lnTo>
                <a:lnTo>
                  <a:pt x="6344994" y="1241024"/>
                </a:lnTo>
                <a:lnTo>
                  <a:pt x="0" y="1241024"/>
                </a:lnTo>
                <a:lnTo>
                  <a:pt x="0" y="413675"/>
                </a:lnTo>
                <a:close/>
              </a:path>
            </a:pathLst>
          </a:custGeom>
          <a:solidFill>
            <a:srgbClr val="003462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61D836">
                <a:shade val="8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520355" rIns="667674" bIns="676357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[2] structured data aggregates - documentation as key value pairs </a:t>
            </a:r>
            <a:endParaRPr lang="en-SG" sz="2000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8CF6F0B-2819-8086-9FCD-38B21271FBCC}"/>
              </a:ext>
            </a:extLst>
          </p:cNvPr>
          <p:cNvSpPr/>
          <p:nvPr/>
        </p:nvSpPr>
        <p:spPr>
          <a:xfrm>
            <a:off x="3743866" y="3400678"/>
            <a:ext cx="7930550" cy="2144990"/>
          </a:xfrm>
          <a:custGeom>
            <a:avLst/>
            <a:gdLst>
              <a:gd name="connsiteX0" fmla="*/ 0 w 6179601"/>
              <a:gd name="connsiteY0" fmla="*/ 413675 h 1654698"/>
              <a:gd name="connsiteX1" fmla="*/ 5352252 w 6179601"/>
              <a:gd name="connsiteY1" fmla="*/ 413675 h 1654698"/>
              <a:gd name="connsiteX2" fmla="*/ 5352252 w 6179601"/>
              <a:gd name="connsiteY2" fmla="*/ 0 h 1654698"/>
              <a:gd name="connsiteX3" fmla="*/ 6179601 w 6179601"/>
              <a:gd name="connsiteY3" fmla="*/ 827349 h 1654698"/>
              <a:gd name="connsiteX4" fmla="*/ 5352252 w 6179601"/>
              <a:gd name="connsiteY4" fmla="*/ 1654698 h 1654698"/>
              <a:gd name="connsiteX5" fmla="*/ 5352252 w 6179601"/>
              <a:gd name="connsiteY5" fmla="*/ 1241024 h 1654698"/>
              <a:gd name="connsiteX6" fmla="*/ 0 w 6179601"/>
              <a:gd name="connsiteY6" fmla="*/ 1241024 h 1654698"/>
              <a:gd name="connsiteX7" fmla="*/ 0 w 6179601"/>
              <a:gd name="connsiteY7" fmla="*/ 413675 h 165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79601" h="1654698">
                <a:moveTo>
                  <a:pt x="0" y="413675"/>
                </a:moveTo>
                <a:lnTo>
                  <a:pt x="5352252" y="413675"/>
                </a:lnTo>
                <a:lnTo>
                  <a:pt x="5352252" y="0"/>
                </a:lnTo>
                <a:lnTo>
                  <a:pt x="6179601" y="827349"/>
                </a:lnTo>
                <a:lnTo>
                  <a:pt x="5352252" y="1654698"/>
                </a:lnTo>
                <a:lnTo>
                  <a:pt x="5352252" y="1241024"/>
                </a:lnTo>
                <a:lnTo>
                  <a:pt x="0" y="1241024"/>
                </a:lnTo>
                <a:lnTo>
                  <a:pt x="0" y="413675"/>
                </a:lnTo>
                <a:close/>
              </a:path>
            </a:pathLst>
          </a:custGeom>
          <a:solidFill>
            <a:srgbClr val="003462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61D836">
                <a:shade val="8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520355" rIns="667674" bIns="676357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</a:pPr>
            <a:r>
              <a:rPr lang="en-US" sz="2000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[3] authentic structured data aggregates - documentation as key-value-pairs attributable to the aggregate originator.</a:t>
            </a:r>
            <a:endParaRPr lang="en-SG" sz="2000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1517F74-28AE-5968-EF1E-3C180E052826}"/>
              </a:ext>
            </a:extLst>
          </p:cNvPr>
          <p:cNvSpPr/>
          <p:nvPr/>
        </p:nvSpPr>
        <p:spPr>
          <a:xfrm>
            <a:off x="4548996" y="4419888"/>
            <a:ext cx="7039157" cy="1980912"/>
          </a:xfrm>
          <a:custGeom>
            <a:avLst/>
            <a:gdLst>
              <a:gd name="connsiteX0" fmla="*/ 0 w 5344261"/>
              <a:gd name="connsiteY0" fmla="*/ 413675 h 1654698"/>
              <a:gd name="connsiteX1" fmla="*/ 4516912 w 5344261"/>
              <a:gd name="connsiteY1" fmla="*/ 413675 h 1654698"/>
              <a:gd name="connsiteX2" fmla="*/ 4516912 w 5344261"/>
              <a:gd name="connsiteY2" fmla="*/ 0 h 1654698"/>
              <a:gd name="connsiteX3" fmla="*/ 5344261 w 5344261"/>
              <a:gd name="connsiteY3" fmla="*/ 827349 h 1654698"/>
              <a:gd name="connsiteX4" fmla="*/ 4516912 w 5344261"/>
              <a:gd name="connsiteY4" fmla="*/ 1654698 h 1654698"/>
              <a:gd name="connsiteX5" fmla="*/ 4516912 w 5344261"/>
              <a:gd name="connsiteY5" fmla="*/ 1241024 h 1654698"/>
              <a:gd name="connsiteX6" fmla="*/ 0 w 5344261"/>
              <a:gd name="connsiteY6" fmla="*/ 1241024 h 1654698"/>
              <a:gd name="connsiteX7" fmla="*/ 0 w 5344261"/>
              <a:gd name="connsiteY7" fmla="*/ 413675 h 1654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44261" h="1654698">
                <a:moveTo>
                  <a:pt x="0" y="413675"/>
                </a:moveTo>
                <a:lnTo>
                  <a:pt x="4516912" y="413675"/>
                </a:lnTo>
                <a:lnTo>
                  <a:pt x="4516912" y="0"/>
                </a:lnTo>
                <a:lnTo>
                  <a:pt x="5344261" y="827349"/>
                </a:lnTo>
                <a:lnTo>
                  <a:pt x="4516912" y="1654698"/>
                </a:lnTo>
                <a:lnTo>
                  <a:pt x="4516912" y="1241024"/>
                </a:lnTo>
                <a:lnTo>
                  <a:pt x="0" y="1241024"/>
                </a:lnTo>
                <a:lnTo>
                  <a:pt x="0" y="413675"/>
                </a:lnTo>
                <a:close/>
              </a:path>
            </a:pathLst>
          </a:custGeom>
          <a:solidFill>
            <a:srgbClr val="003462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61D836">
                <a:shade val="8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520355" rIns="667674" bIns="676357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[4] authentic structured data aggregates consisting of authentic data elements - every element of the aggregate can be verifiably traced back to its originator.</a:t>
            </a:r>
            <a:endParaRPr lang="en-SG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DDB4CC8-CE00-7CAB-74E4-9DD609B57AFA}"/>
              </a:ext>
            </a:extLst>
          </p:cNvPr>
          <p:cNvSpPr txBox="1">
            <a:spLocks/>
          </p:cNvSpPr>
          <p:nvPr/>
        </p:nvSpPr>
        <p:spPr>
          <a:xfrm>
            <a:off x="394932" y="264806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0" marR="0" indent="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SG" sz="3600" b="0" dirty="0">
                <a:solidFill>
                  <a:schemeClr val="bg1"/>
                </a:solidFill>
                <a:latin typeface="+mj-lt"/>
                <a:ea typeface="+mj-ea"/>
                <a:cs typeface="Gellix" pitchFamily="2" charset="77"/>
              </a:rPr>
              <a:t>Evolution of Trade Documentation</a:t>
            </a:r>
          </a:p>
        </p:txBody>
      </p:sp>
    </p:spTree>
    <p:extLst>
      <p:ext uri="{BB962C8B-B14F-4D97-AF65-F5344CB8AC3E}">
        <p14:creationId xmlns:p14="http://schemas.microsoft.com/office/powerpoint/2010/main" val="3369859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79B8EA-362D-4FB7-F6C8-9A303AA0D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75652-2DD9-2242-928B-C4408E21A69B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581C91C-EC43-A9DB-F1A2-044888E3B5A1}"/>
              </a:ext>
            </a:extLst>
          </p:cNvPr>
          <p:cNvSpPr txBox="1">
            <a:spLocks/>
          </p:cNvSpPr>
          <p:nvPr/>
        </p:nvSpPr>
        <p:spPr>
          <a:xfrm>
            <a:off x="741802" y="518072"/>
            <a:ext cx="10799759" cy="1063228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i="0" kern="1200">
                <a:solidFill>
                  <a:schemeClr val="bg1"/>
                </a:solidFill>
                <a:latin typeface="+mj-lt"/>
                <a:ea typeface="+mj-ea"/>
                <a:cs typeface="Gellix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007BFF"/>
              </a:solidFill>
              <a:effectLst/>
              <a:uLnTx/>
              <a:uFillTx/>
              <a:latin typeface="Helvetica Neue"/>
              <a:cs typeface="Gellix" pitchFamily="2" charset="77"/>
              <a:sym typeface="Helvetica Neue"/>
            </a:endParaRPr>
          </a:p>
        </p:txBody>
      </p:sp>
      <p:sp>
        <p:nvSpPr>
          <p:cNvPr id="3" name="Google Shape;972;p33">
            <a:extLst>
              <a:ext uri="{FF2B5EF4-FFF2-40B4-BE49-F238E27FC236}">
                <a16:creationId xmlns:a16="http://schemas.microsoft.com/office/drawing/2014/main" id="{BC422037-E392-782E-EAC9-A05536031BE0}"/>
              </a:ext>
            </a:extLst>
          </p:cNvPr>
          <p:cNvSpPr/>
          <p:nvPr/>
        </p:nvSpPr>
        <p:spPr>
          <a:xfrm>
            <a:off x="1132968" y="1588032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7" y="1"/>
                  <a:pt x="25899" y="1"/>
                </a:cubicBezTo>
                <a:lnTo>
                  <a:pt x="1262" y="1"/>
                </a:lnTo>
                <a:cubicBezTo>
                  <a:pt x="585" y="1"/>
                  <a:pt x="1" y="561"/>
                  <a:pt x="1" y="1238"/>
                </a:cubicBezTo>
                <a:lnTo>
                  <a:pt x="1" y="7964"/>
                </a:lnTo>
              </a:path>
            </a:pathLst>
          </a:custGeom>
          <a:solidFill>
            <a:srgbClr val="FFCE7D"/>
          </a:solidFill>
          <a:ln w="7600" cap="rnd" cmpd="sng">
            <a:solidFill>
              <a:srgbClr val="FFCE7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4" name="Google Shape;973;p33">
            <a:extLst>
              <a:ext uri="{FF2B5EF4-FFF2-40B4-BE49-F238E27FC236}">
                <a16:creationId xmlns:a16="http://schemas.microsoft.com/office/drawing/2014/main" id="{C126EF03-A937-AF64-FD43-0D2F1A6E3EE0}"/>
              </a:ext>
            </a:extLst>
          </p:cNvPr>
          <p:cNvSpPr/>
          <p:nvPr/>
        </p:nvSpPr>
        <p:spPr>
          <a:xfrm>
            <a:off x="1132969" y="2322365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1" y="1"/>
                </a:moveTo>
                <a:lnTo>
                  <a:pt x="1" y="6703"/>
                </a:lnTo>
                <a:cubicBezTo>
                  <a:pt x="1" y="7404"/>
                  <a:pt x="585" y="7964"/>
                  <a:pt x="1262" y="7964"/>
                </a:cubicBezTo>
                <a:lnTo>
                  <a:pt x="25899" y="7964"/>
                </a:lnTo>
                <a:cubicBezTo>
                  <a:pt x="26577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FFCE7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6" name="Google Shape;974;p33">
            <a:extLst>
              <a:ext uri="{FF2B5EF4-FFF2-40B4-BE49-F238E27FC236}">
                <a16:creationId xmlns:a16="http://schemas.microsoft.com/office/drawing/2014/main" id="{2ABA6EEA-1028-543F-13DA-DE521E560C9B}"/>
              </a:ext>
            </a:extLst>
          </p:cNvPr>
          <p:cNvSpPr/>
          <p:nvPr/>
        </p:nvSpPr>
        <p:spPr>
          <a:xfrm>
            <a:off x="840804" y="2184304"/>
            <a:ext cx="224509" cy="57"/>
          </a:xfrm>
          <a:custGeom>
            <a:avLst/>
            <a:gdLst/>
            <a:ahLst/>
            <a:cxnLst/>
            <a:rect l="l" t="t" r="r" b="b"/>
            <a:pathLst>
              <a:path w="3948" h="1" fill="none" extrusionOk="0">
                <a:moveTo>
                  <a:pt x="1" y="0"/>
                </a:moveTo>
                <a:lnTo>
                  <a:pt x="3948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8" name="Google Shape;975;p33">
            <a:extLst>
              <a:ext uri="{FF2B5EF4-FFF2-40B4-BE49-F238E27FC236}">
                <a16:creationId xmlns:a16="http://schemas.microsoft.com/office/drawing/2014/main" id="{2991955C-4563-89E8-ABAF-1D191423C64B}"/>
              </a:ext>
            </a:extLst>
          </p:cNvPr>
          <p:cNvSpPr/>
          <p:nvPr/>
        </p:nvSpPr>
        <p:spPr>
          <a:xfrm>
            <a:off x="1065244" y="2115215"/>
            <a:ext cx="136879" cy="136879"/>
          </a:xfrm>
          <a:custGeom>
            <a:avLst/>
            <a:gdLst/>
            <a:ahLst/>
            <a:cxnLst/>
            <a:rect l="l" t="t" r="r" b="b"/>
            <a:pathLst>
              <a:path w="2407" h="2407" fill="none" extrusionOk="0">
                <a:moveTo>
                  <a:pt x="2406" y="1215"/>
                </a:moveTo>
                <a:cubicBezTo>
                  <a:pt x="2406" y="1869"/>
                  <a:pt x="1869" y="2406"/>
                  <a:pt x="1192" y="2406"/>
                </a:cubicBezTo>
                <a:cubicBezTo>
                  <a:pt x="538" y="2406"/>
                  <a:pt x="1" y="1869"/>
                  <a:pt x="1" y="1215"/>
                </a:cubicBezTo>
                <a:cubicBezTo>
                  <a:pt x="1" y="538"/>
                  <a:pt x="538" y="1"/>
                  <a:pt x="1192" y="1"/>
                </a:cubicBezTo>
                <a:cubicBezTo>
                  <a:pt x="1869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9" name="Google Shape;976;p33">
            <a:extLst>
              <a:ext uri="{FF2B5EF4-FFF2-40B4-BE49-F238E27FC236}">
                <a16:creationId xmlns:a16="http://schemas.microsoft.com/office/drawing/2014/main" id="{6A977375-4BD0-5EB2-787B-47D268DA1AA2}"/>
              </a:ext>
            </a:extLst>
          </p:cNvPr>
          <p:cNvSpPr/>
          <p:nvPr/>
        </p:nvSpPr>
        <p:spPr>
          <a:xfrm>
            <a:off x="1101124" y="2151094"/>
            <a:ext cx="65112" cy="65112"/>
          </a:xfrm>
          <a:custGeom>
            <a:avLst/>
            <a:gdLst/>
            <a:ahLst/>
            <a:cxnLst/>
            <a:rect l="l" t="t" r="r" b="b"/>
            <a:pathLst>
              <a:path w="1145" h="1145" extrusionOk="0">
                <a:moveTo>
                  <a:pt x="561" y="0"/>
                </a:moveTo>
                <a:cubicBezTo>
                  <a:pt x="257" y="0"/>
                  <a:pt x="0" y="257"/>
                  <a:pt x="0" y="584"/>
                </a:cubicBezTo>
                <a:cubicBezTo>
                  <a:pt x="0" y="888"/>
                  <a:pt x="257" y="1145"/>
                  <a:pt x="561" y="1145"/>
                </a:cubicBezTo>
                <a:cubicBezTo>
                  <a:pt x="888" y="1145"/>
                  <a:pt x="1145" y="888"/>
                  <a:pt x="1145" y="584"/>
                </a:cubicBezTo>
                <a:cubicBezTo>
                  <a:pt x="1145" y="257"/>
                  <a:pt x="888" y="0"/>
                  <a:pt x="561" y="0"/>
                </a:cubicBezTo>
                <a:close/>
              </a:path>
            </a:pathLst>
          </a:custGeom>
          <a:solidFill>
            <a:srgbClr val="FFCE7D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0" name="Google Shape;977;p33">
            <a:extLst>
              <a:ext uri="{FF2B5EF4-FFF2-40B4-BE49-F238E27FC236}">
                <a16:creationId xmlns:a16="http://schemas.microsoft.com/office/drawing/2014/main" id="{48DDF0BA-0A37-4613-F89C-2C0C7E7E3034}"/>
              </a:ext>
            </a:extLst>
          </p:cNvPr>
          <p:cNvSpPr/>
          <p:nvPr/>
        </p:nvSpPr>
        <p:spPr>
          <a:xfrm>
            <a:off x="2968184" y="1588032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7" y="1"/>
                  <a:pt x="25900" y="1"/>
                </a:cubicBezTo>
                <a:lnTo>
                  <a:pt x="1262" y="1"/>
                </a:lnTo>
                <a:cubicBezTo>
                  <a:pt x="561" y="1"/>
                  <a:pt x="1" y="561"/>
                  <a:pt x="1" y="1238"/>
                </a:cubicBezTo>
                <a:lnTo>
                  <a:pt x="1" y="7964"/>
                </a:lnTo>
              </a:path>
            </a:pathLst>
          </a:custGeom>
          <a:noFill/>
          <a:ln w="7600" cap="rnd" cmpd="sng">
            <a:solidFill>
              <a:srgbClr val="FFB17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1" name="Google Shape;978;p33">
            <a:extLst>
              <a:ext uri="{FF2B5EF4-FFF2-40B4-BE49-F238E27FC236}">
                <a16:creationId xmlns:a16="http://schemas.microsoft.com/office/drawing/2014/main" id="{0339E2A4-F27B-F5EF-1344-54B33E491F07}"/>
              </a:ext>
            </a:extLst>
          </p:cNvPr>
          <p:cNvSpPr/>
          <p:nvPr/>
        </p:nvSpPr>
        <p:spPr>
          <a:xfrm>
            <a:off x="2968182" y="2322365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1" y="1"/>
                </a:moveTo>
                <a:lnTo>
                  <a:pt x="1" y="6703"/>
                </a:lnTo>
                <a:cubicBezTo>
                  <a:pt x="1" y="7404"/>
                  <a:pt x="561" y="7964"/>
                  <a:pt x="1262" y="7964"/>
                </a:cubicBezTo>
                <a:lnTo>
                  <a:pt x="25900" y="7964"/>
                </a:lnTo>
                <a:cubicBezTo>
                  <a:pt x="26577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FFB17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2" name="Google Shape;979;p33">
            <a:extLst>
              <a:ext uri="{FF2B5EF4-FFF2-40B4-BE49-F238E27FC236}">
                <a16:creationId xmlns:a16="http://schemas.microsoft.com/office/drawing/2014/main" id="{0374705B-3D99-A277-02CF-DFD97AEF9A74}"/>
              </a:ext>
            </a:extLst>
          </p:cNvPr>
          <p:cNvSpPr/>
          <p:nvPr/>
        </p:nvSpPr>
        <p:spPr>
          <a:xfrm>
            <a:off x="2676076" y="2184304"/>
            <a:ext cx="224453" cy="57"/>
          </a:xfrm>
          <a:custGeom>
            <a:avLst/>
            <a:gdLst/>
            <a:ahLst/>
            <a:cxnLst/>
            <a:rect l="l" t="t" r="r" b="b"/>
            <a:pathLst>
              <a:path w="3947" h="1" fill="none" extrusionOk="0">
                <a:moveTo>
                  <a:pt x="0" y="0"/>
                </a:moveTo>
                <a:lnTo>
                  <a:pt x="3947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3" name="Google Shape;980;p33">
            <a:extLst>
              <a:ext uri="{FF2B5EF4-FFF2-40B4-BE49-F238E27FC236}">
                <a16:creationId xmlns:a16="http://schemas.microsoft.com/office/drawing/2014/main" id="{C58862CA-53AB-6A35-D810-A5DC6A518B53}"/>
              </a:ext>
            </a:extLst>
          </p:cNvPr>
          <p:cNvSpPr/>
          <p:nvPr/>
        </p:nvSpPr>
        <p:spPr>
          <a:xfrm>
            <a:off x="2900460" y="2115215"/>
            <a:ext cx="136879" cy="136879"/>
          </a:xfrm>
          <a:custGeom>
            <a:avLst/>
            <a:gdLst/>
            <a:ahLst/>
            <a:cxnLst/>
            <a:rect l="l" t="t" r="r" b="b"/>
            <a:pathLst>
              <a:path w="2407" h="2407" fill="none" extrusionOk="0">
                <a:moveTo>
                  <a:pt x="2406" y="1215"/>
                </a:moveTo>
                <a:cubicBezTo>
                  <a:pt x="2406" y="1869"/>
                  <a:pt x="1869" y="2406"/>
                  <a:pt x="1192" y="2406"/>
                </a:cubicBezTo>
                <a:cubicBezTo>
                  <a:pt x="538" y="2406"/>
                  <a:pt x="1" y="1869"/>
                  <a:pt x="1" y="1215"/>
                </a:cubicBezTo>
                <a:cubicBezTo>
                  <a:pt x="1" y="538"/>
                  <a:pt x="538" y="1"/>
                  <a:pt x="1192" y="1"/>
                </a:cubicBezTo>
                <a:cubicBezTo>
                  <a:pt x="1869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4" name="Google Shape;981;p33">
            <a:extLst>
              <a:ext uri="{FF2B5EF4-FFF2-40B4-BE49-F238E27FC236}">
                <a16:creationId xmlns:a16="http://schemas.microsoft.com/office/drawing/2014/main" id="{8EC57DAA-CB20-3456-9C80-625683BC814A}"/>
              </a:ext>
            </a:extLst>
          </p:cNvPr>
          <p:cNvSpPr/>
          <p:nvPr/>
        </p:nvSpPr>
        <p:spPr>
          <a:xfrm>
            <a:off x="2936340" y="2151094"/>
            <a:ext cx="65112" cy="65112"/>
          </a:xfrm>
          <a:custGeom>
            <a:avLst/>
            <a:gdLst/>
            <a:ahLst/>
            <a:cxnLst/>
            <a:rect l="l" t="t" r="r" b="b"/>
            <a:pathLst>
              <a:path w="1145" h="1145" extrusionOk="0">
                <a:moveTo>
                  <a:pt x="561" y="0"/>
                </a:moveTo>
                <a:cubicBezTo>
                  <a:pt x="257" y="0"/>
                  <a:pt x="0" y="257"/>
                  <a:pt x="0" y="584"/>
                </a:cubicBezTo>
                <a:cubicBezTo>
                  <a:pt x="0" y="888"/>
                  <a:pt x="257" y="1145"/>
                  <a:pt x="561" y="1145"/>
                </a:cubicBezTo>
                <a:cubicBezTo>
                  <a:pt x="888" y="1145"/>
                  <a:pt x="1145" y="888"/>
                  <a:pt x="1145" y="584"/>
                </a:cubicBezTo>
                <a:cubicBezTo>
                  <a:pt x="1145" y="257"/>
                  <a:pt x="888" y="0"/>
                  <a:pt x="561" y="0"/>
                </a:cubicBezTo>
                <a:close/>
              </a:path>
            </a:pathLst>
          </a:custGeom>
          <a:solidFill>
            <a:srgbClr val="FFB17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5" name="Google Shape;982;p33">
            <a:extLst>
              <a:ext uri="{FF2B5EF4-FFF2-40B4-BE49-F238E27FC236}">
                <a16:creationId xmlns:a16="http://schemas.microsoft.com/office/drawing/2014/main" id="{16BD0CE5-33E0-95F2-4142-77DA7C30D596}"/>
              </a:ext>
            </a:extLst>
          </p:cNvPr>
          <p:cNvSpPr/>
          <p:nvPr/>
        </p:nvSpPr>
        <p:spPr>
          <a:xfrm>
            <a:off x="4803398" y="1588032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7" y="1"/>
                  <a:pt x="25876" y="1"/>
                </a:cubicBezTo>
                <a:lnTo>
                  <a:pt x="1262" y="1"/>
                </a:lnTo>
                <a:cubicBezTo>
                  <a:pt x="561" y="1"/>
                  <a:pt x="1" y="561"/>
                  <a:pt x="1" y="1238"/>
                </a:cubicBezTo>
                <a:lnTo>
                  <a:pt x="1" y="7964"/>
                </a:lnTo>
              </a:path>
            </a:pathLst>
          </a:custGeom>
          <a:noFill/>
          <a:ln w="7600" cap="rnd" cmpd="sng">
            <a:solidFill>
              <a:srgbClr val="FF66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6" name="Google Shape;983;p33">
            <a:extLst>
              <a:ext uri="{FF2B5EF4-FFF2-40B4-BE49-F238E27FC236}">
                <a16:creationId xmlns:a16="http://schemas.microsoft.com/office/drawing/2014/main" id="{95AACC13-B4E4-D64F-4981-86A127F57B03}"/>
              </a:ext>
            </a:extLst>
          </p:cNvPr>
          <p:cNvSpPr/>
          <p:nvPr/>
        </p:nvSpPr>
        <p:spPr>
          <a:xfrm>
            <a:off x="4803396" y="2322365"/>
            <a:ext cx="1543248" cy="396000"/>
          </a:xfrm>
          <a:custGeom>
            <a:avLst/>
            <a:gdLst/>
            <a:ahLst/>
            <a:cxnLst/>
            <a:rect l="l" t="t" r="r" b="b"/>
            <a:pathLst>
              <a:path w="27138" h="7965" fill="none" extrusionOk="0">
                <a:moveTo>
                  <a:pt x="1" y="1"/>
                </a:moveTo>
                <a:lnTo>
                  <a:pt x="1" y="6703"/>
                </a:lnTo>
                <a:cubicBezTo>
                  <a:pt x="1" y="7404"/>
                  <a:pt x="561" y="7964"/>
                  <a:pt x="1262" y="7964"/>
                </a:cubicBezTo>
                <a:lnTo>
                  <a:pt x="25876" y="7964"/>
                </a:lnTo>
                <a:cubicBezTo>
                  <a:pt x="26577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FF66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7" name="Google Shape;984;p33">
            <a:extLst>
              <a:ext uri="{FF2B5EF4-FFF2-40B4-BE49-F238E27FC236}">
                <a16:creationId xmlns:a16="http://schemas.microsoft.com/office/drawing/2014/main" id="{6BE268B5-69CF-46C7-E7F7-6446F8493142}"/>
              </a:ext>
            </a:extLst>
          </p:cNvPr>
          <p:cNvSpPr/>
          <p:nvPr/>
        </p:nvSpPr>
        <p:spPr>
          <a:xfrm>
            <a:off x="4511292" y="2184304"/>
            <a:ext cx="224453" cy="57"/>
          </a:xfrm>
          <a:custGeom>
            <a:avLst/>
            <a:gdLst/>
            <a:ahLst/>
            <a:cxnLst/>
            <a:rect l="l" t="t" r="r" b="b"/>
            <a:pathLst>
              <a:path w="3947" h="1" fill="none" extrusionOk="0">
                <a:moveTo>
                  <a:pt x="0" y="0"/>
                </a:moveTo>
                <a:lnTo>
                  <a:pt x="3947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8" name="Google Shape;985;p33">
            <a:extLst>
              <a:ext uri="{FF2B5EF4-FFF2-40B4-BE49-F238E27FC236}">
                <a16:creationId xmlns:a16="http://schemas.microsoft.com/office/drawing/2014/main" id="{730F2EB0-CA54-3790-44DF-BF73D1A81B38}"/>
              </a:ext>
            </a:extLst>
          </p:cNvPr>
          <p:cNvSpPr/>
          <p:nvPr/>
        </p:nvSpPr>
        <p:spPr>
          <a:xfrm>
            <a:off x="4735676" y="2115215"/>
            <a:ext cx="136879" cy="136879"/>
          </a:xfrm>
          <a:custGeom>
            <a:avLst/>
            <a:gdLst/>
            <a:ahLst/>
            <a:cxnLst/>
            <a:rect l="l" t="t" r="r" b="b"/>
            <a:pathLst>
              <a:path w="2407" h="2407" fill="none" extrusionOk="0">
                <a:moveTo>
                  <a:pt x="2406" y="1215"/>
                </a:moveTo>
                <a:cubicBezTo>
                  <a:pt x="2406" y="1869"/>
                  <a:pt x="1869" y="2406"/>
                  <a:pt x="1192" y="2406"/>
                </a:cubicBezTo>
                <a:cubicBezTo>
                  <a:pt x="538" y="2406"/>
                  <a:pt x="1" y="1869"/>
                  <a:pt x="1" y="1215"/>
                </a:cubicBezTo>
                <a:cubicBezTo>
                  <a:pt x="1" y="538"/>
                  <a:pt x="538" y="1"/>
                  <a:pt x="1192" y="1"/>
                </a:cubicBezTo>
                <a:cubicBezTo>
                  <a:pt x="1869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19" name="Google Shape;986;p33">
            <a:extLst>
              <a:ext uri="{FF2B5EF4-FFF2-40B4-BE49-F238E27FC236}">
                <a16:creationId xmlns:a16="http://schemas.microsoft.com/office/drawing/2014/main" id="{91F7543F-8794-5F60-B25D-2DBA1D362995}"/>
              </a:ext>
            </a:extLst>
          </p:cNvPr>
          <p:cNvSpPr/>
          <p:nvPr/>
        </p:nvSpPr>
        <p:spPr>
          <a:xfrm>
            <a:off x="4770248" y="2151094"/>
            <a:ext cx="66420" cy="65112"/>
          </a:xfrm>
          <a:custGeom>
            <a:avLst/>
            <a:gdLst/>
            <a:ahLst/>
            <a:cxnLst/>
            <a:rect l="l" t="t" r="r" b="b"/>
            <a:pathLst>
              <a:path w="1168" h="1145" extrusionOk="0">
                <a:moveTo>
                  <a:pt x="584" y="0"/>
                </a:moveTo>
                <a:cubicBezTo>
                  <a:pt x="280" y="0"/>
                  <a:pt x="0" y="257"/>
                  <a:pt x="0" y="584"/>
                </a:cubicBezTo>
                <a:cubicBezTo>
                  <a:pt x="0" y="888"/>
                  <a:pt x="280" y="1145"/>
                  <a:pt x="584" y="1145"/>
                </a:cubicBezTo>
                <a:cubicBezTo>
                  <a:pt x="911" y="1145"/>
                  <a:pt x="1168" y="888"/>
                  <a:pt x="1168" y="584"/>
                </a:cubicBezTo>
                <a:cubicBezTo>
                  <a:pt x="1168" y="257"/>
                  <a:pt x="911" y="0"/>
                  <a:pt x="584" y="0"/>
                </a:cubicBezTo>
                <a:close/>
              </a:path>
            </a:pathLst>
          </a:custGeom>
          <a:solidFill>
            <a:srgbClr val="FF666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0" name="Google Shape;987;p33">
            <a:extLst>
              <a:ext uri="{FF2B5EF4-FFF2-40B4-BE49-F238E27FC236}">
                <a16:creationId xmlns:a16="http://schemas.microsoft.com/office/drawing/2014/main" id="{C0FFC622-3195-85C1-D3B4-E2881ED96306}"/>
              </a:ext>
            </a:extLst>
          </p:cNvPr>
          <p:cNvSpPr/>
          <p:nvPr/>
        </p:nvSpPr>
        <p:spPr>
          <a:xfrm>
            <a:off x="6638673" y="1588032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6" y="1"/>
                  <a:pt x="25876" y="1"/>
                </a:cubicBezTo>
                <a:lnTo>
                  <a:pt x="1261" y="1"/>
                </a:lnTo>
                <a:cubicBezTo>
                  <a:pt x="561" y="1"/>
                  <a:pt x="0" y="561"/>
                  <a:pt x="0" y="1238"/>
                </a:cubicBezTo>
                <a:lnTo>
                  <a:pt x="0" y="7964"/>
                </a:lnTo>
              </a:path>
            </a:pathLst>
          </a:custGeom>
          <a:noFill/>
          <a:ln w="7600" cap="rnd" cmpd="sng">
            <a:solidFill>
              <a:srgbClr val="C927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1" name="Google Shape;988;p33">
            <a:extLst>
              <a:ext uri="{FF2B5EF4-FFF2-40B4-BE49-F238E27FC236}">
                <a16:creationId xmlns:a16="http://schemas.microsoft.com/office/drawing/2014/main" id="{6C66857D-09FC-DB5B-ED23-1D239DDCB8CD}"/>
              </a:ext>
            </a:extLst>
          </p:cNvPr>
          <p:cNvSpPr/>
          <p:nvPr/>
        </p:nvSpPr>
        <p:spPr>
          <a:xfrm>
            <a:off x="6638667" y="2322365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0" y="1"/>
                </a:moveTo>
                <a:lnTo>
                  <a:pt x="0" y="6703"/>
                </a:lnTo>
                <a:cubicBezTo>
                  <a:pt x="0" y="7404"/>
                  <a:pt x="561" y="7964"/>
                  <a:pt x="1261" y="7964"/>
                </a:cubicBezTo>
                <a:lnTo>
                  <a:pt x="25876" y="7964"/>
                </a:lnTo>
                <a:cubicBezTo>
                  <a:pt x="26576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C927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2" name="Google Shape;989;p33">
            <a:extLst>
              <a:ext uri="{FF2B5EF4-FFF2-40B4-BE49-F238E27FC236}">
                <a16:creationId xmlns:a16="http://schemas.microsoft.com/office/drawing/2014/main" id="{00F77225-4D4F-1417-A0A8-C4570C064C26}"/>
              </a:ext>
            </a:extLst>
          </p:cNvPr>
          <p:cNvSpPr/>
          <p:nvPr/>
        </p:nvSpPr>
        <p:spPr>
          <a:xfrm>
            <a:off x="6346508" y="2184304"/>
            <a:ext cx="224509" cy="57"/>
          </a:xfrm>
          <a:custGeom>
            <a:avLst/>
            <a:gdLst/>
            <a:ahLst/>
            <a:cxnLst/>
            <a:rect l="l" t="t" r="r" b="b"/>
            <a:pathLst>
              <a:path w="3948" h="1" fill="none" extrusionOk="0">
                <a:moveTo>
                  <a:pt x="0" y="0"/>
                </a:moveTo>
                <a:lnTo>
                  <a:pt x="3947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3" name="Google Shape;990;p33">
            <a:extLst>
              <a:ext uri="{FF2B5EF4-FFF2-40B4-BE49-F238E27FC236}">
                <a16:creationId xmlns:a16="http://schemas.microsoft.com/office/drawing/2014/main" id="{FB2460C8-D879-A2F5-C168-D61C60E3771B}"/>
              </a:ext>
            </a:extLst>
          </p:cNvPr>
          <p:cNvSpPr/>
          <p:nvPr/>
        </p:nvSpPr>
        <p:spPr>
          <a:xfrm>
            <a:off x="6570948" y="2115215"/>
            <a:ext cx="136821" cy="136879"/>
          </a:xfrm>
          <a:custGeom>
            <a:avLst/>
            <a:gdLst/>
            <a:ahLst/>
            <a:cxnLst/>
            <a:rect l="l" t="t" r="r" b="b"/>
            <a:pathLst>
              <a:path w="2406" h="2407" fill="none" extrusionOk="0">
                <a:moveTo>
                  <a:pt x="2406" y="1215"/>
                </a:moveTo>
                <a:cubicBezTo>
                  <a:pt x="2406" y="1869"/>
                  <a:pt x="1868" y="2406"/>
                  <a:pt x="1191" y="2406"/>
                </a:cubicBezTo>
                <a:cubicBezTo>
                  <a:pt x="537" y="2406"/>
                  <a:pt x="0" y="1869"/>
                  <a:pt x="0" y="1215"/>
                </a:cubicBezTo>
                <a:cubicBezTo>
                  <a:pt x="0" y="538"/>
                  <a:pt x="537" y="1"/>
                  <a:pt x="1191" y="1"/>
                </a:cubicBezTo>
                <a:cubicBezTo>
                  <a:pt x="1868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4" name="Google Shape;991;p33">
            <a:extLst>
              <a:ext uri="{FF2B5EF4-FFF2-40B4-BE49-F238E27FC236}">
                <a16:creationId xmlns:a16="http://schemas.microsoft.com/office/drawing/2014/main" id="{2D479B01-3A0E-CB7A-B68B-E3AE68DF0680}"/>
              </a:ext>
            </a:extLst>
          </p:cNvPr>
          <p:cNvSpPr/>
          <p:nvPr/>
        </p:nvSpPr>
        <p:spPr>
          <a:xfrm>
            <a:off x="6605464" y="2151094"/>
            <a:ext cx="66420" cy="65112"/>
          </a:xfrm>
          <a:custGeom>
            <a:avLst/>
            <a:gdLst/>
            <a:ahLst/>
            <a:cxnLst/>
            <a:rect l="l" t="t" r="r" b="b"/>
            <a:pathLst>
              <a:path w="1168" h="1145" extrusionOk="0">
                <a:moveTo>
                  <a:pt x="584" y="0"/>
                </a:moveTo>
                <a:cubicBezTo>
                  <a:pt x="257" y="0"/>
                  <a:pt x="0" y="257"/>
                  <a:pt x="0" y="584"/>
                </a:cubicBezTo>
                <a:cubicBezTo>
                  <a:pt x="0" y="888"/>
                  <a:pt x="281" y="1145"/>
                  <a:pt x="584" y="1145"/>
                </a:cubicBezTo>
                <a:cubicBezTo>
                  <a:pt x="911" y="1145"/>
                  <a:pt x="1168" y="888"/>
                  <a:pt x="1168" y="584"/>
                </a:cubicBezTo>
                <a:cubicBezTo>
                  <a:pt x="1168" y="257"/>
                  <a:pt x="911" y="0"/>
                  <a:pt x="584" y="0"/>
                </a:cubicBezTo>
                <a:close/>
              </a:path>
            </a:pathLst>
          </a:custGeom>
          <a:solidFill>
            <a:srgbClr val="C927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5" name="Google Shape;992;p33">
            <a:extLst>
              <a:ext uri="{FF2B5EF4-FFF2-40B4-BE49-F238E27FC236}">
                <a16:creationId xmlns:a16="http://schemas.microsoft.com/office/drawing/2014/main" id="{52981D80-EDEA-4FDC-A2B2-D546B044EE33}"/>
              </a:ext>
            </a:extLst>
          </p:cNvPr>
          <p:cNvSpPr/>
          <p:nvPr/>
        </p:nvSpPr>
        <p:spPr>
          <a:xfrm>
            <a:off x="8473889" y="1588032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6" y="1"/>
                  <a:pt x="25876" y="1"/>
                </a:cubicBezTo>
                <a:lnTo>
                  <a:pt x="1261" y="1"/>
                </a:lnTo>
                <a:cubicBezTo>
                  <a:pt x="561" y="1"/>
                  <a:pt x="0" y="561"/>
                  <a:pt x="0" y="1238"/>
                </a:cubicBezTo>
                <a:lnTo>
                  <a:pt x="0" y="7964"/>
                </a:lnTo>
              </a:path>
            </a:pathLst>
          </a:custGeom>
          <a:noFill/>
          <a:ln w="7600" cap="rnd" cmpd="sng">
            <a:solidFill>
              <a:srgbClr val="65142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6" name="Google Shape;993;p33">
            <a:extLst>
              <a:ext uri="{FF2B5EF4-FFF2-40B4-BE49-F238E27FC236}">
                <a16:creationId xmlns:a16="http://schemas.microsoft.com/office/drawing/2014/main" id="{13685E11-564E-FDFF-B811-9E1AC53EBE6D}"/>
              </a:ext>
            </a:extLst>
          </p:cNvPr>
          <p:cNvSpPr/>
          <p:nvPr/>
        </p:nvSpPr>
        <p:spPr>
          <a:xfrm>
            <a:off x="8473880" y="2322365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0" y="1"/>
                </a:moveTo>
                <a:lnTo>
                  <a:pt x="0" y="6703"/>
                </a:lnTo>
                <a:cubicBezTo>
                  <a:pt x="0" y="7404"/>
                  <a:pt x="561" y="7964"/>
                  <a:pt x="1261" y="7964"/>
                </a:cubicBezTo>
                <a:lnTo>
                  <a:pt x="25876" y="7964"/>
                </a:lnTo>
                <a:cubicBezTo>
                  <a:pt x="26576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65142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7" name="Google Shape;994;p33">
            <a:extLst>
              <a:ext uri="{FF2B5EF4-FFF2-40B4-BE49-F238E27FC236}">
                <a16:creationId xmlns:a16="http://schemas.microsoft.com/office/drawing/2014/main" id="{B6A92271-376E-A3CA-F934-6B6FECD8615D}"/>
              </a:ext>
            </a:extLst>
          </p:cNvPr>
          <p:cNvSpPr/>
          <p:nvPr/>
        </p:nvSpPr>
        <p:spPr>
          <a:xfrm>
            <a:off x="8181724" y="2184304"/>
            <a:ext cx="224509" cy="57"/>
          </a:xfrm>
          <a:custGeom>
            <a:avLst/>
            <a:gdLst/>
            <a:ahLst/>
            <a:cxnLst/>
            <a:rect l="l" t="t" r="r" b="b"/>
            <a:pathLst>
              <a:path w="3948" h="1" fill="none" extrusionOk="0">
                <a:moveTo>
                  <a:pt x="1" y="0"/>
                </a:moveTo>
                <a:lnTo>
                  <a:pt x="3947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8" name="Google Shape;995;p33">
            <a:extLst>
              <a:ext uri="{FF2B5EF4-FFF2-40B4-BE49-F238E27FC236}">
                <a16:creationId xmlns:a16="http://schemas.microsoft.com/office/drawing/2014/main" id="{4C750C3F-C299-55E3-4F2E-D2A2972AFE8D}"/>
              </a:ext>
            </a:extLst>
          </p:cNvPr>
          <p:cNvSpPr/>
          <p:nvPr/>
        </p:nvSpPr>
        <p:spPr>
          <a:xfrm>
            <a:off x="8404800" y="2115215"/>
            <a:ext cx="136879" cy="136879"/>
          </a:xfrm>
          <a:custGeom>
            <a:avLst/>
            <a:gdLst/>
            <a:ahLst/>
            <a:cxnLst/>
            <a:rect l="l" t="t" r="r" b="b"/>
            <a:pathLst>
              <a:path w="2407" h="2407" fill="none" extrusionOk="0">
                <a:moveTo>
                  <a:pt x="2406" y="1215"/>
                </a:moveTo>
                <a:cubicBezTo>
                  <a:pt x="2406" y="1869"/>
                  <a:pt x="1869" y="2406"/>
                  <a:pt x="1215" y="2406"/>
                </a:cubicBezTo>
                <a:cubicBezTo>
                  <a:pt x="561" y="2406"/>
                  <a:pt x="1" y="1869"/>
                  <a:pt x="1" y="1215"/>
                </a:cubicBezTo>
                <a:cubicBezTo>
                  <a:pt x="1" y="538"/>
                  <a:pt x="561" y="1"/>
                  <a:pt x="1215" y="1"/>
                </a:cubicBezTo>
                <a:cubicBezTo>
                  <a:pt x="1869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29" name="Google Shape;996;p33">
            <a:extLst>
              <a:ext uri="{FF2B5EF4-FFF2-40B4-BE49-F238E27FC236}">
                <a16:creationId xmlns:a16="http://schemas.microsoft.com/office/drawing/2014/main" id="{F60C5CB9-7157-8A23-70CA-450001D2FAB3}"/>
              </a:ext>
            </a:extLst>
          </p:cNvPr>
          <p:cNvSpPr/>
          <p:nvPr/>
        </p:nvSpPr>
        <p:spPr>
          <a:xfrm>
            <a:off x="8440680" y="2151094"/>
            <a:ext cx="66477" cy="65112"/>
          </a:xfrm>
          <a:custGeom>
            <a:avLst/>
            <a:gdLst/>
            <a:ahLst/>
            <a:cxnLst/>
            <a:rect l="l" t="t" r="r" b="b"/>
            <a:pathLst>
              <a:path w="1169" h="1145" extrusionOk="0">
                <a:moveTo>
                  <a:pt x="584" y="0"/>
                </a:moveTo>
                <a:cubicBezTo>
                  <a:pt x="257" y="0"/>
                  <a:pt x="0" y="257"/>
                  <a:pt x="0" y="584"/>
                </a:cubicBezTo>
                <a:cubicBezTo>
                  <a:pt x="0" y="888"/>
                  <a:pt x="257" y="1145"/>
                  <a:pt x="584" y="1145"/>
                </a:cubicBezTo>
                <a:cubicBezTo>
                  <a:pt x="911" y="1145"/>
                  <a:pt x="1168" y="888"/>
                  <a:pt x="1168" y="584"/>
                </a:cubicBezTo>
                <a:cubicBezTo>
                  <a:pt x="1168" y="257"/>
                  <a:pt x="911" y="0"/>
                  <a:pt x="584" y="0"/>
                </a:cubicBezTo>
                <a:close/>
              </a:path>
            </a:pathLst>
          </a:custGeom>
          <a:solidFill>
            <a:srgbClr val="65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grpSp>
        <p:nvGrpSpPr>
          <p:cNvPr id="30" name="Google Shape;1001;p33">
            <a:extLst>
              <a:ext uri="{FF2B5EF4-FFF2-40B4-BE49-F238E27FC236}">
                <a16:creationId xmlns:a16="http://schemas.microsoft.com/office/drawing/2014/main" id="{0CF29A17-7CE7-3A9E-209D-D2E7FF6B15BD}"/>
              </a:ext>
            </a:extLst>
          </p:cNvPr>
          <p:cNvGrpSpPr/>
          <p:nvPr/>
        </p:nvGrpSpPr>
        <p:grpSpPr>
          <a:xfrm>
            <a:off x="5438395" y="1768675"/>
            <a:ext cx="264316" cy="377253"/>
            <a:chOff x="3206521" y="2077776"/>
            <a:chExt cx="198237" cy="282940"/>
          </a:xfrm>
        </p:grpSpPr>
        <p:sp>
          <p:nvSpPr>
            <p:cNvPr id="31" name="Google Shape;1002;p33">
              <a:extLst>
                <a:ext uri="{FF2B5EF4-FFF2-40B4-BE49-F238E27FC236}">
                  <a16:creationId xmlns:a16="http://schemas.microsoft.com/office/drawing/2014/main" id="{3560293E-9FBB-1EFC-EA70-8E63A3C9601B}"/>
                </a:ext>
              </a:extLst>
            </p:cNvPr>
            <p:cNvSpPr/>
            <p:nvPr/>
          </p:nvSpPr>
          <p:spPr>
            <a:xfrm>
              <a:off x="3206521" y="2077776"/>
              <a:ext cx="198237" cy="282940"/>
            </a:xfrm>
            <a:custGeom>
              <a:avLst/>
              <a:gdLst/>
              <a:ahLst/>
              <a:cxnLst/>
              <a:rect l="l" t="t" r="r" b="b"/>
              <a:pathLst>
                <a:path w="4648" h="6634" fill="none" extrusionOk="0">
                  <a:moveTo>
                    <a:pt x="1331" y="1"/>
                  </a:moveTo>
                  <a:lnTo>
                    <a:pt x="1331" y="1332"/>
                  </a:lnTo>
                  <a:lnTo>
                    <a:pt x="0" y="1332"/>
                  </a:lnTo>
                  <a:lnTo>
                    <a:pt x="0" y="6633"/>
                  </a:lnTo>
                  <a:lnTo>
                    <a:pt x="4647" y="6633"/>
                  </a:lnTo>
                  <a:lnTo>
                    <a:pt x="4647" y="1"/>
                  </a:lnTo>
                  <a:close/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2" name="Google Shape;1003;p33">
              <a:extLst>
                <a:ext uri="{FF2B5EF4-FFF2-40B4-BE49-F238E27FC236}">
                  <a16:creationId xmlns:a16="http://schemas.microsoft.com/office/drawing/2014/main" id="{DD6A648B-3513-DF91-D604-C15EDEDC21EF}"/>
                </a:ext>
              </a:extLst>
            </p:cNvPr>
            <p:cNvSpPr/>
            <p:nvPr/>
          </p:nvSpPr>
          <p:spPr>
            <a:xfrm>
              <a:off x="3206521" y="2077776"/>
              <a:ext cx="56810" cy="56810"/>
            </a:xfrm>
            <a:custGeom>
              <a:avLst/>
              <a:gdLst/>
              <a:ahLst/>
              <a:cxnLst/>
              <a:rect l="l" t="t" r="r" b="b"/>
              <a:pathLst>
                <a:path w="1332" h="1332" fill="none" extrusionOk="0">
                  <a:moveTo>
                    <a:pt x="1331" y="1"/>
                  </a:moveTo>
                  <a:lnTo>
                    <a:pt x="0" y="1332"/>
                  </a:lnTo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3" name="Google Shape;1004;p33">
              <a:extLst>
                <a:ext uri="{FF2B5EF4-FFF2-40B4-BE49-F238E27FC236}">
                  <a16:creationId xmlns:a16="http://schemas.microsoft.com/office/drawing/2014/main" id="{61CAC416-F5D5-D24C-047B-568F7896200A}"/>
                </a:ext>
              </a:extLst>
            </p:cNvPr>
            <p:cNvSpPr/>
            <p:nvPr/>
          </p:nvSpPr>
          <p:spPr>
            <a:xfrm>
              <a:off x="3248315" y="2177401"/>
              <a:ext cx="114601" cy="43"/>
            </a:xfrm>
            <a:custGeom>
              <a:avLst/>
              <a:gdLst/>
              <a:ahLst/>
              <a:cxnLst/>
              <a:rect l="l" t="t" r="r" b="b"/>
              <a:pathLst>
                <a:path w="2687" h="1" fill="none" extrusionOk="0">
                  <a:moveTo>
                    <a:pt x="1" y="0"/>
                  </a:moveTo>
                  <a:lnTo>
                    <a:pt x="2687" y="0"/>
                  </a:lnTo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4" name="Google Shape;1005;p33">
              <a:extLst>
                <a:ext uri="{FF2B5EF4-FFF2-40B4-BE49-F238E27FC236}">
                  <a16:creationId xmlns:a16="http://schemas.microsoft.com/office/drawing/2014/main" id="{3B884058-7C64-74C9-A215-4C816783C5C7}"/>
                </a:ext>
              </a:extLst>
            </p:cNvPr>
            <p:cNvSpPr/>
            <p:nvPr/>
          </p:nvSpPr>
          <p:spPr>
            <a:xfrm>
              <a:off x="3248315" y="2211263"/>
              <a:ext cx="114601" cy="43"/>
            </a:xfrm>
            <a:custGeom>
              <a:avLst/>
              <a:gdLst/>
              <a:ahLst/>
              <a:cxnLst/>
              <a:rect l="l" t="t" r="r" b="b"/>
              <a:pathLst>
                <a:path w="2687" h="1" fill="none" extrusionOk="0">
                  <a:moveTo>
                    <a:pt x="1" y="0"/>
                  </a:moveTo>
                  <a:lnTo>
                    <a:pt x="2687" y="0"/>
                  </a:lnTo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5" name="Google Shape;1006;p33">
              <a:extLst>
                <a:ext uri="{FF2B5EF4-FFF2-40B4-BE49-F238E27FC236}">
                  <a16:creationId xmlns:a16="http://schemas.microsoft.com/office/drawing/2014/main" id="{4326B61D-910E-319C-2833-1B87E5229142}"/>
                </a:ext>
              </a:extLst>
            </p:cNvPr>
            <p:cNvSpPr/>
            <p:nvPr/>
          </p:nvSpPr>
          <p:spPr>
            <a:xfrm>
              <a:off x="3248315" y="2244102"/>
              <a:ext cx="114601" cy="43"/>
            </a:xfrm>
            <a:custGeom>
              <a:avLst/>
              <a:gdLst/>
              <a:ahLst/>
              <a:cxnLst/>
              <a:rect l="l" t="t" r="r" b="b"/>
              <a:pathLst>
                <a:path w="2687" h="1" fill="none" extrusionOk="0">
                  <a:moveTo>
                    <a:pt x="1" y="1"/>
                  </a:moveTo>
                  <a:lnTo>
                    <a:pt x="2687" y="1"/>
                  </a:lnTo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6" name="Google Shape;1007;p33">
              <a:extLst>
                <a:ext uri="{FF2B5EF4-FFF2-40B4-BE49-F238E27FC236}">
                  <a16:creationId xmlns:a16="http://schemas.microsoft.com/office/drawing/2014/main" id="{DD961D6F-4953-49FD-7766-A8C37AC4E7DA}"/>
                </a:ext>
              </a:extLst>
            </p:cNvPr>
            <p:cNvSpPr/>
            <p:nvPr/>
          </p:nvSpPr>
          <p:spPr>
            <a:xfrm>
              <a:off x="3248315" y="2277964"/>
              <a:ext cx="114601" cy="43"/>
            </a:xfrm>
            <a:custGeom>
              <a:avLst/>
              <a:gdLst/>
              <a:ahLst/>
              <a:cxnLst/>
              <a:rect l="l" t="t" r="r" b="b"/>
              <a:pathLst>
                <a:path w="2687" h="1" fill="none" extrusionOk="0">
                  <a:moveTo>
                    <a:pt x="1" y="1"/>
                  </a:moveTo>
                  <a:lnTo>
                    <a:pt x="2687" y="1"/>
                  </a:lnTo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</p:grpSp>
      <p:grpSp>
        <p:nvGrpSpPr>
          <p:cNvPr id="37" name="Google Shape;1008;p33">
            <a:extLst>
              <a:ext uri="{FF2B5EF4-FFF2-40B4-BE49-F238E27FC236}">
                <a16:creationId xmlns:a16="http://schemas.microsoft.com/office/drawing/2014/main" id="{DB61E91B-C793-9380-1D2F-2180734C58DF}"/>
              </a:ext>
            </a:extLst>
          </p:cNvPr>
          <p:cNvGrpSpPr/>
          <p:nvPr/>
        </p:nvGrpSpPr>
        <p:grpSpPr>
          <a:xfrm>
            <a:off x="7193066" y="1765048"/>
            <a:ext cx="377196" cy="377253"/>
            <a:chOff x="5917507" y="2077776"/>
            <a:chExt cx="282897" cy="282940"/>
          </a:xfrm>
        </p:grpSpPr>
        <p:sp>
          <p:nvSpPr>
            <p:cNvPr id="38" name="Google Shape;1009;p33">
              <a:extLst>
                <a:ext uri="{FF2B5EF4-FFF2-40B4-BE49-F238E27FC236}">
                  <a16:creationId xmlns:a16="http://schemas.microsoft.com/office/drawing/2014/main" id="{A3A75088-AEE3-F5C0-228C-FA7D10A9E173}"/>
                </a:ext>
              </a:extLst>
            </p:cNvPr>
            <p:cNvSpPr/>
            <p:nvPr/>
          </p:nvSpPr>
          <p:spPr>
            <a:xfrm>
              <a:off x="5917507" y="2077776"/>
              <a:ext cx="282897" cy="282940"/>
            </a:xfrm>
            <a:custGeom>
              <a:avLst/>
              <a:gdLst/>
              <a:ahLst/>
              <a:cxnLst/>
              <a:rect l="l" t="t" r="r" b="b"/>
              <a:pathLst>
                <a:path w="6633" h="6634" fill="none" extrusionOk="0">
                  <a:moveTo>
                    <a:pt x="6633" y="3877"/>
                  </a:moveTo>
                  <a:lnTo>
                    <a:pt x="6633" y="2756"/>
                  </a:lnTo>
                  <a:lnTo>
                    <a:pt x="5395" y="2756"/>
                  </a:lnTo>
                  <a:cubicBezTo>
                    <a:pt x="5348" y="2570"/>
                    <a:pt x="5278" y="2406"/>
                    <a:pt x="5185" y="2243"/>
                  </a:cubicBezTo>
                  <a:lnTo>
                    <a:pt x="6049" y="1379"/>
                  </a:lnTo>
                  <a:lnTo>
                    <a:pt x="5255" y="561"/>
                  </a:lnTo>
                  <a:lnTo>
                    <a:pt x="4391" y="1449"/>
                  </a:lnTo>
                  <a:cubicBezTo>
                    <a:pt x="4227" y="1355"/>
                    <a:pt x="4064" y="1285"/>
                    <a:pt x="3877" y="1239"/>
                  </a:cubicBezTo>
                  <a:lnTo>
                    <a:pt x="3877" y="1"/>
                  </a:lnTo>
                  <a:lnTo>
                    <a:pt x="2756" y="1"/>
                  </a:lnTo>
                  <a:lnTo>
                    <a:pt x="2756" y="1239"/>
                  </a:lnTo>
                  <a:cubicBezTo>
                    <a:pt x="2569" y="1285"/>
                    <a:pt x="2406" y="1355"/>
                    <a:pt x="2242" y="1449"/>
                  </a:cubicBezTo>
                  <a:lnTo>
                    <a:pt x="1378" y="561"/>
                  </a:lnTo>
                  <a:lnTo>
                    <a:pt x="584" y="1379"/>
                  </a:lnTo>
                  <a:lnTo>
                    <a:pt x="1448" y="2243"/>
                  </a:lnTo>
                  <a:cubicBezTo>
                    <a:pt x="1355" y="2406"/>
                    <a:pt x="1285" y="2570"/>
                    <a:pt x="1238" y="2756"/>
                  </a:cubicBezTo>
                  <a:lnTo>
                    <a:pt x="1" y="2756"/>
                  </a:lnTo>
                  <a:lnTo>
                    <a:pt x="1" y="3877"/>
                  </a:lnTo>
                  <a:lnTo>
                    <a:pt x="1238" y="3877"/>
                  </a:lnTo>
                  <a:cubicBezTo>
                    <a:pt x="1285" y="4064"/>
                    <a:pt x="1355" y="4228"/>
                    <a:pt x="1448" y="4391"/>
                  </a:cubicBezTo>
                  <a:lnTo>
                    <a:pt x="584" y="5255"/>
                  </a:lnTo>
                  <a:lnTo>
                    <a:pt x="1378" y="6049"/>
                  </a:lnTo>
                  <a:lnTo>
                    <a:pt x="2242" y="5185"/>
                  </a:lnTo>
                  <a:cubicBezTo>
                    <a:pt x="2406" y="5279"/>
                    <a:pt x="2569" y="5349"/>
                    <a:pt x="2756" y="5395"/>
                  </a:cubicBezTo>
                  <a:lnTo>
                    <a:pt x="2756" y="6633"/>
                  </a:lnTo>
                  <a:lnTo>
                    <a:pt x="3877" y="6633"/>
                  </a:lnTo>
                  <a:lnTo>
                    <a:pt x="3877" y="5395"/>
                  </a:lnTo>
                  <a:cubicBezTo>
                    <a:pt x="4064" y="5349"/>
                    <a:pt x="4227" y="5279"/>
                    <a:pt x="4391" y="5185"/>
                  </a:cubicBezTo>
                  <a:lnTo>
                    <a:pt x="5255" y="6049"/>
                  </a:lnTo>
                  <a:lnTo>
                    <a:pt x="6049" y="5255"/>
                  </a:lnTo>
                  <a:lnTo>
                    <a:pt x="5185" y="4391"/>
                  </a:lnTo>
                  <a:cubicBezTo>
                    <a:pt x="5278" y="4228"/>
                    <a:pt x="5348" y="4064"/>
                    <a:pt x="5395" y="3877"/>
                  </a:cubicBezTo>
                  <a:close/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39" name="Google Shape;1010;p33">
              <a:extLst>
                <a:ext uri="{FF2B5EF4-FFF2-40B4-BE49-F238E27FC236}">
                  <a16:creationId xmlns:a16="http://schemas.microsoft.com/office/drawing/2014/main" id="{C7B2CD3D-AA21-A474-638F-35DDCDF931AF}"/>
                </a:ext>
              </a:extLst>
            </p:cNvPr>
            <p:cNvSpPr/>
            <p:nvPr/>
          </p:nvSpPr>
          <p:spPr>
            <a:xfrm>
              <a:off x="6014104" y="2174415"/>
              <a:ext cx="89693" cy="89650"/>
            </a:xfrm>
            <a:custGeom>
              <a:avLst/>
              <a:gdLst/>
              <a:ahLst/>
              <a:cxnLst/>
              <a:rect l="l" t="t" r="r" b="b"/>
              <a:pathLst>
                <a:path w="2103" h="2102" fill="none" extrusionOk="0">
                  <a:moveTo>
                    <a:pt x="2103" y="1051"/>
                  </a:moveTo>
                  <a:cubicBezTo>
                    <a:pt x="2103" y="1635"/>
                    <a:pt x="1636" y="2102"/>
                    <a:pt x="1052" y="2102"/>
                  </a:cubicBezTo>
                  <a:cubicBezTo>
                    <a:pt x="468" y="2102"/>
                    <a:pt x="1" y="1635"/>
                    <a:pt x="1" y="1051"/>
                  </a:cubicBezTo>
                  <a:cubicBezTo>
                    <a:pt x="1" y="467"/>
                    <a:pt x="468" y="0"/>
                    <a:pt x="1052" y="0"/>
                  </a:cubicBezTo>
                  <a:cubicBezTo>
                    <a:pt x="1636" y="0"/>
                    <a:pt x="2103" y="467"/>
                    <a:pt x="2103" y="1051"/>
                  </a:cubicBezTo>
                  <a:close/>
                </a:path>
              </a:pathLst>
            </a:custGeom>
            <a:noFill/>
            <a:ln w="11100" cap="rnd" cmpd="sng">
              <a:solidFill>
                <a:srgbClr val="FF66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</p:grpSp>
      <p:sp>
        <p:nvSpPr>
          <p:cNvPr id="40" name="Google Shape;1027;p33">
            <a:extLst>
              <a:ext uri="{FF2B5EF4-FFF2-40B4-BE49-F238E27FC236}">
                <a16:creationId xmlns:a16="http://schemas.microsoft.com/office/drawing/2014/main" id="{3FB2C60B-4FCC-7B8D-BB2F-AF9D6A65A1FB}"/>
              </a:ext>
            </a:extLst>
          </p:cNvPr>
          <p:cNvSpPr txBox="1"/>
          <p:nvPr/>
        </p:nvSpPr>
        <p:spPr>
          <a:xfrm>
            <a:off x="6646094" y="2175378"/>
            <a:ext cx="1543200" cy="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September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1" name="Google Shape;1032;p33">
            <a:extLst>
              <a:ext uri="{FF2B5EF4-FFF2-40B4-BE49-F238E27FC236}">
                <a16:creationId xmlns:a16="http://schemas.microsoft.com/office/drawing/2014/main" id="{C3802C83-84AC-5B12-03E9-818E98BBE373}"/>
              </a:ext>
            </a:extLst>
          </p:cNvPr>
          <p:cNvSpPr/>
          <p:nvPr/>
        </p:nvSpPr>
        <p:spPr>
          <a:xfrm>
            <a:off x="1133169" y="1022690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FFCE7D"/>
          </a:solidFill>
          <a:ln w="9525" cap="flat" cmpd="sng">
            <a:solidFill>
              <a:srgbClr val="FFCE7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>
              <a:buClr>
                <a:srgbClr val="000000"/>
              </a:buClr>
              <a:buSzPts val="1100"/>
              <a:defRPr/>
            </a:pPr>
            <a:r>
              <a:rPr lang="en" sz="1400" b="1" kern="0" dirty="0">
                <a:solidFill>
                  <a:srgbClr val="FFFFFF"/>
                </a:solidFill>
                <a:latin typeface="Helvetica Neue"/>
                <a:sym typeface="Fira Sans Extra Condensed"/>
              </a:rPr>
              <a:t>Idea</a:t>
            </a:r>
            <a:endParaRPr sz="1400" b="1" kern="0" dirty="0">
              <a:solidFill>
                <a:srgbClr val="FFFFFF"/>
              </a:solidFill>
              <a:latin typeface="Helvetica Neue"/>
              <a:sym typeface="Fira Sans Extra Condensed"/>
            </a:endParaRPr>
          </a:p>
        </p:txBody>
      </p:sp>
      <p:sp>
        <p:nvSpPr>
          <p:cNvPr id="42" name="Google Shape;1033;p33">
            <a:extLst>
              <a:ext uri="{FF2B5EF4-FFF2-40B4-BE49-F238E27FC236}">
                <a16:creationId xmlns:a16="http://schemas.microsoft.com/office/drawing/2014/main" id="{36770CC8-C2FA-5AFE-9736-0B996966EAD6}"/>
              </a:ext>
            </a:extLst>
          </p:cNvPr>
          <p:cNvSpPr/>
          <p:nvPr/>
        </p:nvSpPr>
        <p:spPr>
          <a:xfrm>
            <a:off x="2968202" y="1022690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FFB174"/>
          </a:solidFill>
          <a:ln w="9525" cap="flat" cmpd="sng">
            <a:solidFill>
              <a:srgbClr val="FFB17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>
              <a:buClr>
                <a:srgbClr val="000000"/>
              </a:buClr>
              <a:buSzPts val="1100"/>
              <a:defRPr/>
            </a:pPr>
            <a:r>
              <a:rPr lang="en" sz="1400" b="1" kern="0" dirty="0">
                <a:solidFill>
                  <a:srgbClr val="FFFFFF"/>
                </a:solidFill>
                <a:latin typeface="Helvetica Neue"/>
                <a:sym typeface="Fira Sans Extra Condensed"/>
              </a:rPr>
              <a:t>Market Research</a:t>
            </a:r>
            <a:endParaRPr sz="1400" b="1" kern="0" dirty="0">
              <a:solidFill>
                <a:srgbClr val="FFFFFF"/>
              </a:solidFill>
              <a:latin typeface="Helvetica Neue"/>
              <a:sym typeface="Fira Sans Extra Condensed"/>
            </a:endParaRPr>
          </a:p>
        </p:txBody>
      </p:sp>
      <p:sp>
        <p:nvSpPr>
          <p:cNvPr id="43" name="Google Shape;1034;p33">
            <a:extLst>
              <a:ext uri="{FF2B5EF4-FFF2-40B4-BE49-F238E27FC236}">
                <a16:creationId xmlns:a16="http://schemas.microsoft.com/office/drawing/2014/main" id="{8F28AB95-EA88-6757-D6AE-19BA0213EF67}"/>
              </a:ext>
            </a:extLst>
          </p:cNvPr>
          <p:cNvSpPr/>
          <p:nvPr/>
        </p:nvSpPr>
        <p:spPr>
          <a:xfrm>
            <a:off x="4803236" y="1022690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FF6666"/>
          </a:solidFill>
          <a:ln w="9525" cap="flat" cmpd="sng">
            <a:solidFill>
              <a:srgbClr val="FF66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  <a:defRPr/>
            </a:pPr>
            <a:r>
              <a:rPr lang="en" sz="1400" b="1" kern="0" dirty="0">
                <a:solidFill>
                  <a:srgbClr val="FFFFFF"/>
                </a:solidFill>
                <a:latin typeface="Helvetica Neue"/>
                <a:ea typeface="Fira Sans Extra Condensed"/>
                <a:cs typeface="Fira Sans Extra Condensed"/>
                <a:sym typeface="Fira Sans Extra Condensed"/>
              </a:rPr>
              <a:t>CAS Definition </a:t>
            </a:r>
            <a:endParaRPr sz="1400" b="1" kern="0" dirty="0">
              <a:solidFill>
                <a:srgbClr val="FFFFFF"/>
              </a:solidFill>
              <a:latin typeface="Helvetica Neue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44" name="Google Shape;1035;p33">
            <a:extLst>
              <a:ext uri="{FF2B5EF4-FFF2-40B4-BE49-F238E27FC236}">
                <a16:creationId xmlns:a16="http://schemas.microsoft.com/office/drawing/2014/main" id="{FE05DA89-7B07-6E76-8499-6FBB224C04F5}"/>
              </a:ext>
            </a:extLst>
          </p:cNvPr>
          <p:cNvSpPr/>
          <p:nvPr/>
        </p:nvSpPr>
        <p:spPr>
          <a:xfrm>
            <a:off x="6602769" y="1022690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C9274F"/>
          </a:solidFill>
          <a:ln w="9525" cap="flat" cmpd="sng">
            <a:solidFill>
              <a:srgbClr val="C927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>
              <a:buClr>
                <a:srgbClr val="000000"/>
              </a:buClr>
              <a:buSzPts val="1100"/>
              <a:defRPr/>
            </a:pPr>
            <a:r>
              <a:rPr lang="en" sz="1400" b="1" kern="0" dirty="0">
                <a:solidFill>
                  <a:srgbClr val="FFFFFF"/>
                </a:solidFill>
                <a:latin typeface="Helvetica Neue"/>
                <a:sym typeface="Fira Sans Extra Condensed"/>
              </a:rPr>
              <a:t>CAS Elaboration</a:t>
            </a:r>
            <a:endParaRPr sz="1400" b="1" kern="0" dirty="0">
              <a:solidFill>
                <a:srgbClr val="FFFFFF"/>
              </a:solidFill>
              <a:latin typeface="Helvetica Neue"/>
              <a:sym typeface="Fira Sans Extra Condensed"/>
            </a:endParaRPr>
          </a:p>
        </p:txBody>
      </p:sp>
      <p:sp>
        <p:nvSpPr>
          <p:cNvPr id="45" name="Google Shape;1036;p33">
            <a:extLst>
              <a:ext uri="{FF2B5EF4-FFF2-40B4-BE49-F238E27FC236}">
                <a16:creationId xmlns:a16="http://schemas.microsoft.com/office/drawing/2014/main" id="{68C10775-9B79-26F8-574C-4E48142747E4}"/>
              </a:ext>
            </a:extLst>
          </p:cNvPr>
          <p:cNvSpPr/>
          <p:nvPr/>
        </p:nvSpPr>
        <p:spPr>
          <a:xfrm>
            <a:off x="8473302" y="1022690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651428"/>
          </a:solidFill>
          <a:ln w="9525" cap="flat" cmpd="sng">
            <a:solidFill>
              <a:srgbClr val="65142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>
              <a:defRPr/>
            </a:pPr>
            <a:r>
              <a:rPr lang="en" sz="1400" b="1" kern="0" dirty="0">
                <a:solidFill>
                  <a:srgbClr val="FFFFFF"/>
                </a:solidFill>
                <a:latin typeface="Helvetica Neue"/>
                <a:sym typeface="Fira Sans Extra Condensed"/>
              </a:rPr>
              <a:t>Test / Focus Group</a:t>
            </a:r>
            <a:endParaRPr sz="1400" b="1" kern="0" dirty="0">
              <a:solidFill>
                <a:srgbClr val="FFFFFF"/>
              </a:solidFill>
              <a:latin typeface="Helvetica Neue"/>
              <a:sym typeface="Fira Sans Extra Condensed"/>
            </a:endParaRPr>
          </a:p>
        </p:txBody>
      </p:sp>
      <p:sp>
        <p:nvSpPr>
          <p:cNvPr id="46" name="Google Shape;1037;p33">
            <a:extLst>
              <a:ext uri="{FF2B5EF4-FFF2-40B4-BE49-F238E27FC236}">
                <a16:creationId xmlns:a16="http://schemas.microsoft.com/office/drawing/2014/main" id="{B3BD03CD-25F8-AD93-908F-C01DC51FD6AA}"/>
              </a:ext>
            </a:extLst>
          </p:cNvPr>
          <p:cNvSpPr/>
          <p:nvPr/>
        </p:nvSpPr>
        <p:spPr>
          <a:xfrm>
            <a:off x="163067" y="1457829"/>
            <a:ext cx="764320" cy="2033491"/>
          </a:xfrm>
          <a:custGeom>
            <a:avLst/>
            <a:gdLst/>
            <a:ahLst/>
            <a:cxnLst/>
            <a:rect l="l" t="t" r="r" b="b"/>
            <a:pathLst>
              <a:path w="8735" h="20879" extrusionOk="0">
                <a:moveTo>
                  <a:pt x="1355" y="0"/>
                </a:moveTo>
                <a:cubicBezTo>
                  <a:pt x="608" y="0"/>
                  <a:pt x="1" y="608"/>
                  <a:pt x="1" y="1331"/>
                </a:cubicBezTo>
                <a:lnTo>
                  <a:pt x="1" y="19524"/>
                </a:lnTo>
                <a:cubicBezTo>
                  <a:pt x="1" y="20271"/>
                  <a:pt x="608" y="20878"/>
                  <a:pt x="1355" y="20878"/>
                </a:cubicBezTo>
                <a:lnTo>
                  <a:pt x="5699" y="20878"/>
                </a:lnTo>
                <a:cubicBezTo>
                  <a:pt x="6446" y="20878"/>
                  <a:pt x="7030" y="20271"/>
                  <a:pt x="7030" y="19524"/>
                </a:cubicBezTo>
                <a:lnTo>
                  <a:pt x="7030" y="12144"/>
                </a:lnTo>
                <a:lnTo>
                  <a:pt x="8735" y="10439"/>
                </a:lnTo>
                <a:lnTo>
                  <a:pt x="7054" y="8734"/>
                </a:lnTo>
                <a:lnTo>
                  <a:pt x="7054" y="1331"/>
                </a:lnTo>
                <a:cubicBezTo>
                  <a:pt x="7054" y="608"/>
                  <a:pt x="6446" y="0"/>
                  <a:pt x="5699" y="0"/>
                </a:cubicBezTo>
                <a:close/>
              </a:path>
            </a:pathLst>
          </a:custGeom>
          <a:solidFill>
            <a:srgbClr val="EEEEEE"/>
          </a:solidFill>
          <a:ln>
            <a:noFill/>
          </a:ln>
        </p:spPr>
        <p:txBody>
          <a:bodyPr spcFirstLastPara="1" vert="vert270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-SG" sz="2400" kern="0" dirty="0">
                <a:solidFill>
                  <a:srgbClr val="000000"/>
                </a:solidFill>
                <a:latin typeface="Helvetica Neue"/>
                <a:sym typeface="Helvetica Neue"/>
              </a:rPr>
              <a:t>Certification</a:t>
            </a:r>
            <a:endParaRPr sz="2400" kern="0" dirty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  <p:sp>
        <p:nvSpPr>
          <p:cNvPr id="47" name="Google Shape;1036;p33">
            <a:extLst>
              <a:ext uri="{FF2B5EF4-FFF2-40B4-BE49-F238E27FC236}">
                <a16:creationId xmlns:a16="http://schemas.microsoft.com/office/drawing/2014/main" id="{C08E0ABB-C5FA-8B83-F197-42F9F3537CBC}"/>
              </a:ext>
            </a:extLst>
          </p:cNvPr>
          <p:cNvSpPr/>
          <p:nvPr/>
        </p:nvSpPr>
        <p:spPr>
          <a:xfrm>
            <a:off x="10298033" y="1024104"/>
            <a:ext cx="1543200" cy="452800"/>
          </a:xfrm>
          <a:prstGeom prst="roundRect">
            <a:avLst>
              <a:gd name="adj" fmla="val 11918"/>
            </a:avLst>
          </a:prstGeom>
          <a:solidFill>
            <a:srgbClr val="5E5E5E"/>
          </a:solidFill>
          <a:ln w="9525" cap="flat" cmpd="sng">
            <a:solidFill>
              <a:srgbClr val="5E5E5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sym typeface="Fira Sans Extra Condensed"/>
              </a:rPr>
              <a:t>Formalizing the CAS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sym typeface="Fira Sans Extra Condensed"/>
            </a:endParaRPr>
          </a:p>
        </p:txBody>
      </p:sp>
      <p:sp>
        <p:nvSpPr>
          <p:cNvPr id="48" name="Google Shape;994;p33">
            <a:extLst>
              <a:ext uri="{FF2B5EF4-FFF2-40B4-BE49-F238E27FC236}">
                <a16:creationId xmlns:a16="http://schemas.microsoft.com/office/drawing/2014/main" id="{A6865C3A-CF55-30FA-5EA8-3EB26271858B}"/>
              </a:ext>
            </a:extLst>
          </p:cNvPr>
          <p:cNvSpPr/>
          <p:nvPr/>
        </p:nvSpPr>
        <p:spPr>
          <a:xfrm>
            <a:off x="10011493" y="2196922"/>
            <a:ext cx="224509" cy="57"/>
          </a:xfrm>
          <a:custGeom>
            <a:avLst/>
            <a:gdLst/>
            <a:ahLst/>
            <a:cxnLst/>
            <a:rect l="l" t="t" r="r" b="b"/>
            <a:pathLst>
              <a:path w="3948" h="1" fill="none" extrusionOk="0">
                <a:moveTo>
                  <a:pt x="1" y="0"/>
                </a:moveTo>
                <a:lnTo>
                  <a:pt x="3947" y="0"/>
                </a:lnTo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49" name="Google Shape;995;p33">
            <a:extLst>
              <a:ext uri="{FF2B5EF4-FFF2-40B4-BE49-F238E27FC236}">
                <a16:creationId xmlns:a16="http://schemas.microsoft.com/office/drawing/2014/main" id="{0846CD82-DDD3-BEF1-1CD0-CB0BC9F28A1F}"/>
              </a:ext>
            </a:extLst>
          </p:cNvPr>
          <p:cNvSpPr/>
          <p:nvPr/>
        </p:nvSpPr>
        <p:spPr>
          <a:xfrm>
            <a:off x="10234569" y="2127833"/>
            <a:ext cx="136879" cy="136879"/>
          </a:xfrm>
          <a:custGeom>
            <a:avLst/>
            <a:gdLst/>
            <a:ahLst/>
            <a:cxnLst/>
            <a:rect l="l" t="t" r="r" b="b"/>
            <a:pathLst>
              <a:path w="2407" h="2407" fill="none" extrusionOk="0">
                <a:moveTo>
                  <a:pt x="2406" y="1215"/>
                </a:moveTo>
                <a:cubicBezTo>
                  <a:pt x="2406" y="1869"/>
                  <a:pt x="1869" y="2406"/>
                  <a:pt x="1215" y="2406"/>
                </a:cubicBezTo>
                <a:cubicBezTo>
                  <a:pt x="561" y="2406"/>
                  <a:pt x="1" y="1869"/>
                  <a:pt x="1" y="1215"/>
                </a:cubicBezTo>
                <a:cubicBezTo>
                  <a:pt x="1" y="538"/>
                  <a:pt x="561" y="1"/>
                  <a:pt x="1215" y="1"/>
                </a:cubicBezTo>
                <a:cubicBezTo>
                  <a:pt x="1869" y="1"/>
                  <a:pt x="2406" y="538"/>
                  <a:pt x="2406" y="1215"/>
                </a:cubicBezTo>
                <a:close/>
              </a:path>
            </a:pathLst>
          </a:custGeom>
          <a:noFill/>
          <a:ln w="7600" cap="flat" cmpd="sng">
            <a:solidFill>
              <a:srgbClr val="647586"/>
            </a:solidFill>
            <a:prstDash val="solid"/>
            <a:miter lim="23353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endParaRPr sz="2400" kern="0">
              <a:solidFill>
                <a:srgbClr val="000000"/>
              </a:solidFill>
              <a:latin typeface="Arial"/>
              <a:sym typeface="Helvetica Neue"/>
            </a:endParaRPr>
          </a:p>
        </p:txBody>
      </p:sp>
      <p:sp>
        <p:nvSpPr>
          <p:cNvPr id="50" name="Google Shape;996;p33">
            <a:extLst>
              <a:ext uri="{FF2B5EF4-FFF2-40B4-BE49-F238E27FC236}">
                <a16:creationId xmlns:a16="http://schemas.microsoft.com/office/drawing/2014/main" id="{D7C1387E-9BBE-EAAC-00AC-6790FCCBB1DF}"/>
              </a:ext>
            </a:extLst>
          </p:cNvPr>
          <p:cNvSpPr/>
          <p:nvPr/>
        </p:nvSpPr>
        <p:spPr>
          <a:xfrm>
            <a:off x="10266145" y="2163712"/>
            <a:ext cx="66477" cy="65112"/>
          </a:xfrm>
          <a:custGeom>
            <a:avLst/>
            <a:gdLst/>
            <a:ahLst/>
            <a:cxnLst/>
            <a:rect l="l" t="t" r="r" b="b"/>
            <a:pathLst>
              <a:path w="1169" h="1145" extrusionOk="0">
                <a:moveTo>
                  <a:pt x="584" y="0"/>
                </a:moveTo>
                <a:cubicBezTo>
                  <a:pt x="257" y="0"/>
                  <a:pt x="0" y="257"/>
                  <a:pt x="0" y="584"/>
                </a:cubicBezTo>
                <a:cubicBezTo>
                  <a:pt x="0" y="888"/>
                  <a:pt x="257" y="1145"/>
                  <a:pt x="584" y="1145"/>
                </a:cubicBezTo>
                <a:cubicBezTo>
                  <a:pt x="911" y="1145"/>
                  <a:pt x="1168" y="888"/>
                  <a:pt x="1168" y="584"/>
                </a:cubicBezTo>
                <a:cubicBezTo>
                  <a:pt x="1168" y="257"/>
                  <a:pt x="911" y="0"/>
                  <a:pt x="584" y="0"/>
                </a:cubicBezTo>
                <a:close/>
              </a:path>
            </a:pathLst>
          </a:custGeom>
          <a:solidFill>
            <a:srgbClr val="5E5E5E"/>
          </a:solidFill>
          <a:ln>
            <a:solidFill>
              <a:srgbClr val="5E5E5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Helvetica Neue"/>
            </a:endParaRPr>
          </a:p>
        </p:txBody>
      </p:sp>
      <p:sp>
        <p:nvSpPr>
          <p:cNvPr id="51" name="Google Shape;992;p33">
            <a:extLst>
              <a:ext uri="{FF2B5EF4-FFF2-40B4-BE49-F238E27FC236}">
                <a16:creationId xmlns:a16="http://schemas.microsoft.com/office/drawing/2014/main" id="{C55BFB91-D6FF-2B18-C94B-ED02C25C1F00}"/>
              </a:ext>
            </a:extLst>
          </p:cNvPr>
          <p:cNvSpPr/>
          <p:nvPr/>
        </p:nvSpPr>
        <p:spPr>
          <a:xfrm>
            <a:off x="10295530" y="1595669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27137" y="7964"/>
                </a:moveTo>
                <a:lnTo>
                  <a:pt x="27137" y="1238"/>
                </a:lnTo>
                <a:cubicBezTo>
                  <a:pt x="27137" y="561"/>
                  <a:pt x="26576" y="1"/>
                  <a:pt x="25876" y="1"/>
                </a:cubicBezTo>
                <a:lnTo>
                  <a:pt x="1261" y="1"/>
                </a:lnTo>
                <a:cubicBezTo>
                  <a:pt x="561" y="1"/>
                  <a:pt x="0" y="561"/>
                  <a:pt x="0" y="1238"/>
                </a:cubicBezTo>
                <a:lnTo>
                  <a:pt x="0" y="7964"/>
                </a:lnTo>
              </a:path>
            </a:pathLst>
          </a:custGeom>
          <a:solidFill>
            <a:srgbClr val="660066"/>
          </a:solidFill>
          <a:ln w="7600" cap="rnd" cmpd="sng">
            <a:solidFill>
              <a:srgbClr val="5E5E5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Helvetica Neue"/>
            </a:endParaRPr>
          </a:p>
        </p:txBody>
      </p:sp>
      <p:sp>
        <p:nvSpPr>
          <p:cNvPr id="52" name="Google Shape;993;p33">
            <a:extLst>
              <a:ext uri="{FF2B5EF4-FFF2-40B4-BE49-F238E27FC236}">
                <a16:creationId xmlns:a16="http://schemas.microsoft.com/office/drawing/2014/main" id="{A55FD753-BAC2-037E-CA1A-8CEDA1EC11D0}"/>
              </a:ext>
            </a:extLst>
          </p:cNvPr>
          <p:cNvSpPr/>
          <p:nvPr/>
        </p:nvSpPr>
        <p:spPr>
          <a:xfrm>
            <a:off x="10283873" y="2330002"/>
            <a:ext cx="1543191" cy="396000"/>
          </a:xfrm>
          <a:custGeom>
            <a:avLst/>
            <a:gdLst/>
            <a:ahLst/>
            <a:cxnLst/>
            <a:rect l="l" t="t" r="r" b="b"/>
            <a:pathLst>
              <a:path w="27137" h="7965" fill="none" extrusionOk="0">
                <a:moveTo>
                  <a:pt x="0" y="1"/>
                </a:moveTo>
                <a:lnTo>
                  <a:pt x="0" y="6703"/>
                </a:lnTo>
                <a:cubicBezTo>
                  <a:pt x="0" y="7404"/>
                  <a:pt x="561" y="7964"/>
                  <a:pt x="1261" y="7964"/>
                </a:cubicBezTo>
                <a:lnTo>
                  <a:pt x="25876" y="7964"/>
                </a:lnTo>
                <a:cubicBezTo>
                  <a:pt x="26576" y="7964"/>
                  <a:pt x="27137" y="7404"/>
                  <a:pt x="27137" y="6703"/>
                </a:cubicBezTo>
                <a:lnTo>
                  <a:pt x="27137" y="1"/>
                </a:lnTo>
              </a:path>
            </a:pathLst>
          </a:custGeom>
          <a:noFill/>
          <a:ln w="7600" cap="rnd" cmpd="sng">
            <a:solidFill>
              <a:srgbClr val="5E5E5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Helvetica Neue"/>
            </a:endParaRPr>
          </a:p>
        </p:txBody>
      </p:sp>
      <p:grpSp>
        <p:nvGrpSpPr>
          <p:cNvPr id="53" name="Google Shape;234;p18">
            <a:extLst>
              <a:ext uri="{FF2B5EF4-FFF2-40B4-BE49-F238E27FC236}">
                <a16:creationId xmlns:a16="http://schemas.microsoft.com/office/drawing/2014/main" id="{45AA27E4-85CF-49EA-F55A-1D80F96E10DD}"/>
              </a:ext>
            </a:extLst>
          </p:cNvPr>
          <p:cNvGrpSpPr/>
          <p:nvPr/>
        </p:nvGrpSpPr>
        <p:grpSpPr>
          <a:xfrm>
            <a:off x="9054370" y="1755027"/>
            <a:ext cx="322789" cy="382553"/>
            <a:chOff x="1820966" y="1778397"/>
            <a:chExt cx="242092" cy="286915"/>
          </a:xfrm>
        </p:grpSpPr>
        <p:sp>
          <p:nvSpPr>
            <p:cNvPr id="54" name="Google Shape;235;p18">
              <a:extLst>
                <a:ext uri="{FF2B5EF4-FFF2-40B4-BE49-F238E27FC236}">
                  <a16:creationId xmlns:a16="http://schemas.microsoft.com/office/drawing/2014/main" id="{444B4A40-5839-05D4-699B-7F56014DBC6E}"/>
                </a:ext>
              </a:extLst>
            </p:cNvPr>
            <p:cNvSpPr/>
            <p:nvPr/>
          </p:nvSpPr>
          <p:spPr>
            <a:xfrm>
              <a:off x="1913248" y="1778397"/>
              <a:ext cx="57527" cy="66515"/>
            </a:xfrm>
            <a:custGeom>
              <a:avLst/>
              <a:gdLst/>
              <a:ahLst/>
              <a:cxnLst/>
              <a:rect l="l" t="t" r="r" b="b"/>
              <a:pathLst>
                <a:path w="480" h="555" extrusionOk="0">
                  <a:moveTo>
                    <a:pt x="246" y="111"/>
                  </a:moveTo>
                  <a:cubicBezTo>
                    <a:pt x="316" y="111"/>
                    <a:pt x="368" y="164"/>
                    <a:pt x="368" y="228"/>
                  </a:cubicBezTo>
                  <a:lnTo>
                    <a:pt x="368" y="327"/>
                  </a:lnTo>
                  <a:cubicBezTo>
                    <a:pt x="368" y="391"/>
                    <a:pt x="316" y="444"/>
                    <a:pt x="246" y="444"/>
                  </a:cubicBezTo>
                  <a:lnTo>
                    <a:pt x="228" y="444"/>
                  </a:lnTo>
                  <a:cubicBezTo>
                    <a:pt x="164" y="444"/>
                    <a:pt x="112" y="391"/>
                    <a:pt x="112" y="327"/>
                  </a:cubicBezTo>
                  <a:lnTo>
                    <a:pt x="112" y="228"/>
                  </a:lnTo>
                  <a:cubicBezTo>
                    <a:pt x="112" y="164"/>
                    <a:pt x="164" y="111"/>
                    <a:pt x="228" y="111"/>
                  </a:cubicBezTo>
                  <a:close/>
                  <a:moveTo>
                    <a:pt x="228" y="0"/>
                  </a:moveTo>
                  <a:cubicBezTo>
                    <a:pt x="106" y="0"/>
                    <a:pt x="1" y="99"/>
                    <a:pt x="1" y="228"/>
                  </a:cubicBezTo>
                  <a:lnTo>
                    <a:pt x="1" y="327"/>
                  </a:lnTo>
                  <a:cubicBezTo>
                    <a:pt x="1" y="450"/>
                    <a:pt x="106" y="555"/>
                    <a:pt x="228" y="555"/>
                  </a:cubicBezTo>
                  <a:lnTo>
                    <a:pt x="246" y="555"/>
                  </a:lnTo>
                  <a:cubicBezTo>
                    <a:pt x="374" y="555"/>
                    <a:pt x="479" y="450"/>
                    <a:pt x="479" y="327"/>
                  </a:cubicBezTo>
                  <a:lnTo>
                    <a:pt x="479" y="228"/>
                  </a:lnTo>
                  <a:cubicBezTo>
                    <a:pt x="479" y="99"/>
                    <a:pt x="374" y="0"/>
                    <a:pt x="246" y="0"/>
                  </a:cubicBez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55" name="Google Shape;236;p18">
              <a:extLst>
                <a:ext uri="{FF2B5EF4-FFF2-40B4-BE49-F238E27FC236}">
                  <a16:creationId xmlns:a16="http://schemas.microsoft.com/office/drawing/2014/main" id="{D390FFF9-BDD1-C66A-A9A7-43A9F3A8E713}"/>
                </a:ext>
              </a:extLst>
            </p:cNvPr>
            <p:cNvSpPr/>
            <p:nvPr/>
          </p:nvSpPr>
          <p:spPr>
            <a:xfrm>
              <a:off x="1895751" y="1831729"/>
              <a:ext cx="92522" cy="233583"/>
            </a:xfrm>
            <a:custGeom>
              <a:avLst/>
              <a:gdLst/>
              <a:ahLst/>
              <a:cxnLst/>
              <a:rect l="l" t="t" r="r" b="b"/>
              <a:pathLst>
                <a:path w="772" h="1949" extrusionOk="0">
                  <a:moveTo>
                    <a:pt x="386" y="110"/>
                  </a:moveTo>
                  <a:lnTo>
                    <a:pt x="567" y="156"/>
                  </a:lnTo>
                  <a:cubicBezTo>
                    <a:pt x="619" y="168"/>
                    <a:pt x="660" y="215"/>
                    <a:pt x="660" y="261"/>
                  </a:cubicBezTo>
                  <a:lnTo>
                    <a:pt x="660" y="886"/>
                  </a:lnTo>
                  <a:lnTo>
                    <a:pt x="549" y="1014"/>
                  </a:lnTo>
                  <a:cubicBezTo>
                    <a:pt x="538" y="1020"/>
                    <a:pt x="538" y="1032"/>
                    <a:pt x="532" y="1043"/>
                  </a:cubicBezTo>
                  <a:lnTo>
                    <a:pt x="485" y="1837"/>
                  </a:lnTo>
                  <a:lnTo>
                    <a:pt x="287" y="1837"/>
                  </a:lnTo>
                  <a:lnTo>
                    <a:pt x="234" y="1043"/>
                  </a:lnTo>
                  <a:cubicBezTo>
                    <a:pt x="234" y="1032"/>
                    <a:pt x="228" y="1020"/>
                    <a:pt x="223" y="1014"/>
                  </a:cubicBezTo>
                  <a:lnTo>
                    <a:pt x="112" y="886"/>
                  </a:lnTo>
                  <a:lnTo>
                    <a:pt x="112" y="261"/>
                  </a:lnTo>
                  <a:cubicBezTo>
                    <a:pt x="112" y="215"/>
                    <a:pt x="147" y="168"/>
                    <a:pt x="199" y="156"/>
                  </a:cubicBezTo>
                  <a:lnTo>
                    <a:pt x="386" y="110"/>
                  </a:lnTo>
                  <a:close/>
                  <a:moveTo>
                    <a:pt x="386" y="0"/>
                  </a:moveTo>
                  <a:cubicBezTo>
                    <a:pt x="382" y="0"/>
                    <a:pt x="377" y="2"/>
                    <a:pt x="374" y="5"/>
                  </a:cubicBezTo>
                  <a:lnTo>
                    <a:pt x="176" y="51"/>
                  </a:lnTo>
                  <a:cubicBezTo>
                    <a:pt x="71" y="75"/>
                    <a:pt x="1" y="162"/>
                    <a:pt x="1" y="261"/>
                  </a:cubicBezTo>
                  <a:lnTo>
                    <a:pt x="1" y="909"/>
                  </a:lnTo>
                  <a:cubicBezTo>
                    <a:pt x="1" y="921"/>
                    <a:pt x="7" y="933"/>
                    <a:pt x="18" y="944"/>
                  </a:cubicBezTo>
                  <a:lnTo>
                    <a:pt x="129" y="1073"/>
                  </a:lnTo>
                  <a:lnTo>
                    <a:pt x="182" y="1896"/>
                  </a:lnTo>
                  <a:cubicBezTo>
                    <a:pt x="182" y="1925"/>
                    <a:pt x="205" y="1948"/>
                    <a:pt x="234" y="1948"/>
                  </a:cubicBezTo>
                  <a:lnTo>
                    <a:pt x="532" y="1948"/>
                  </a:lnTo>
                  <a:cubicBezTo>
                    <a:pt x="561" y="1948"/>
                    <a:pt x="584" y="1925"/>
                    <a:pt x="590" y="1896"/>
                  </a:cubicBezTo>
                  <a:lnTo>
                    <a:pt x="643" y="1073"/>
                  </a:lnTo>
                  <a:lnTo>
                    <a:pt x="754" y="944"/>
                  </a:lnTo>
                  <a:cubicBezTo>
                    <a:pt x="765" y="933"/>
                    <a:pt x="771" y="921"/>
                    <a:pt x="771" y="909"/>
                  </a:cubicBezTo>
                  <a:lnTo>
                    <a:pt x="771" y="261"/>
                  </a:lnTo>
                  <a:cubicBezTo>
                    <a:pt x="771" y="162"/>
                    <a:pt x="695" y="75"/>
                    <a:pt x="596" y="51"/>
                  </a:cubicBezTo>
                  <a:lnTo>
                    <a:pt x="398" y="5"/>
                  </a:lnTo>
                  <a:cubicBezTo>
                    <a:pt x="395" y="2"/>
                    <a:pt x="390" y="0"/>
                    <a:pt x="386" y="0"/>
                  </a:cubicBez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56" name="Google Shape;237;p18">
              <a:extLst>
                <a:ext uri="{FF2B5EF4-FFF2-40B4-BE49-F238E27FC236}">
                  <a16:creationId xmlns:a16="http://schemas.microsoft.com/office/drawing/2014/main" id="{74A6CABB-E04C-4CEC-27DA-9C06C6C7A62B}"/>
                </a:ext>
              </a:extLst>
            </p:cNvPr>
            <p:cNvSpPr/>
            <p:nvPr/>
          </p:nvSpPr>
          <p:spPr>
            <a:xfrm>
              <a:off x="1837745" y="1790981"/>
              <a:ext cx="54650" cy="63759"/>
            </a:xfrm>
            <a:custGeom>
              <a:avLst/>
              <a:gdLst/>
              <a:ahLst/>
              <a:cxnLst/>
              <a:rect l="l" t="t" r="r" b="b"/>
              <a:pathLst>
                <a:path w="456" h="532" extrusionOk="0">
                  <a:moveTo>
                    <a:pt x="240" y="111"/>
                  </a:moveTo>
                  <a:cubicBezTo>
                    <a:pt x="298" y="111"/>
                    <a:pt x="351" y="158"/>
                    <a:pt x="351" y="222"/>
                  </a:cubicBezTo>
                  <a:lnTo>
                    <a:pt x="351" y="310"/>
                  </a:lnTo>
                  <a:cubicBezTo>
                    <a:pt x="351" y="374"/>
                    <a:pt x="298" y="426"/>
                    <a:pt x="240" y="426"/>
                  </a:cubicBezTo>
                  <a:lnTo>
                    <a:pt x="222" y="426"/>
                  </a:lnTo>
                  <a:cubicBezTo>
                    <a:pt x="158" y="426"/>
                    <a:pt x="105" y="374"/>
                    <a:pt x="105" y="310"/>
                  </a:cubicBezTo>
                  <a:lnTo>
                    <a:pt x="105" y="222"/>
                  </a:lnTo>
                  <a:cubicBezTo>
                    <a:pt x="105" y="158"/>
                    <a:pt x="158" y="111"/>
                    <a:pt x="222" y="111"/>
                  </a:cubicBezTo>
                  <a:close/>
                  <a:moveTo>
                    <a:pt x="222" y="0"/>
                  </a:moveTo>
                  <a:cubicBezTo>
                    <a:pt x="100" y="0"/>
                    <a:pt x="0" y="99"/>
                    <a:pt x="0" y="222"/>
                  </a:cubicBezTo>
                  <a:lnTo>
                    <a:pt x="0" y="310"/>
                  </a:lnTo>
                  <a:cubicBezTo>
                    <a:pt x="0" y="432"/>
                    <a:pt x="100" y="531"/>
                    <a:pt x="222" y="531"/>
                  </a:cubicBezTo>
                  <a:lnTo>
                    <a:pt x="234" y="531"/>
                  </a:lnTo>
                  <a:cubicBezTo>
                    <a:pt x="356" y="531"/>
                    <a:pt x="456" y="432"/>
                    <a:pt x="456" y="310"/>
                  </a:cubicBezTo>
                  <a:lnTo>
                    <a:pt x="456" y="222"/>
                  </a:lnTo>
                  <a:cubicBezTo>
                    <a:pt x="456" y="99"/>
                    <a:pt x="356" y="0"/>
                    <a:pt x="234" y="0"/>
                  </a:cubicBez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57" name="Google Shape;238;p18">
              <a:extLst>
                <a:ext uri="{FF2B5EF4-FFF2-40B4-BE49-F238E27FC236}">
                  <a16:creationId xmlns:a16="http://schemas.microsoft.com/office/drawing/2014/main" id="{C1077D7A-5FF1-759E-F771-BBD014BC19E4}"/>
                </a:ext>
              </a:extLst>
            </p:cNvPr>
            <p:cNvSpPr/>
            <p:nvPr/>
          </p:nvSpPr>
          <p:spPr>
            <a:xfrm>
              <a:off x="1820966" y="1842036"/>
              <a:ext cx="88927" cy="222557"/>
            </a:xfrm>
            <a:custGeom>
              <a:avLst/>
              <a:gdLst/>
              <a:ahLst/>
              <a:cxnLst/>
              <a:rect l="l" t="t" r="r" b="b"/>
              <a:pathLst>
                <a:path w="742" h="1857" extrusionOk="0">
                  <a:moveTo>
                    <a:pt x="356" y="0"/>
                  </a:moveTo>
                  <a:lnTo>
                    <a:pt x="170" y="47"/>
                  </a:lnTo>
                  <a:cubicBezTo>
                    <a:pt x="70" y="70"/>
                    <a:pt x="0" y="158"/>
                    <a:pt x="0" y="251"/>
                  </a:cubicBezTo>
                  <a:lnTo>
                    <a:pt x="0" y="864"/>
                  </a:lnTo>
                  <a:cubicBezTo>
                    <a:pt x="0" y="882"/>
                    <a:pt x="6" y="893"/>
                    <a:pt x="18" y="905"/>
                  </a:cubicBezTo>
                  <a:lnTo>
                    <a:pt x="123" y="1022"/>
                  </a:lnTo>
                  <a:lnTo>
                    <a:pt x="170" y="1810"/>
                  </a:lnTo>
                  <a:cubicBezTo>
                    <a:pt x="175" y="1833"/>
                    <a:pt x="199" y="1856"/>
                    <a:pt x="228" y="1856"/>
                  </a:cubicBezTo>
                  <a:lnTo>
                    <a:pt x="508" y="1856"/>
                  </a:lnTo>
                  <a:cubicBezTo>
                    <a:pt x="537" y="1856"/>
                    <a:pt x="561" y="1833"/>
                    <a:pt x="566" y="1804"/>
                  </a:cubicBezTo>
                  <a:lnTo>
                    <a:pt x="619" y="1022"/>
                  </a:lnTo>
                  <a:lnTo>
                    <a:pt x="724" y="899"/>
                  </a:lnTo>
                  <a:cubicBezTo>
                    <a:pt x="741" y="882"/>
                    <a:pt x="741" y="847"/>
                    <a:pt x="718" y="823"/>
                  </a:cubicBezTo>
                  <a:cubicBezTo>
                    <a:pt x="707" y="815"/>
                    <a:pt x="694" y="811"/>
                    <a:pt x="681" y="811"/>
                  </a:cubicBezTo>
                  <a:cubicBezTo>
                    <a:pt x="666" y="811"/>
                    <a:pt x="652" y="817"/>
                    <a:pt x="642" y="829"/>
                  </a:cubicBezTo>
                  <a:lnTo>
                    <a:pt x="520" y="963"/>
                  </a:lnTo>
                  <a:cubicBezTo>
                    <a:pt x="514" y="969"/>
                    <a:pt x="508" y="981"/>
                    <a:pt x="508" y="993"/>
                  </a:cubicBezTo>
                  <a:lnTo>
                    <a:pt x="461" y="1745"/>
                  </a:lnTo>
                  <a:lnTo>
                    <a:pt x="280" y="1745"/>
                  </a:lnTo>
                  <a:lnTo>
                    <a:pt x="228" y="993"/>
                  </a:lnTo>
                  <a:cubicBezTo>
                    <a:pt x="228" y="981"/>
                    <a:pt x="222" y="969"/>
                    <a:pt x="216" y="963"/>
                  </a:cubicBezTo>
                  <a:lnTo>
                    <a:pt x="111" y="847"/>
                  </a:lnTo>
                  <a:lnTo>
                    <a:pt x="111" y="251"/>
                  </a:lnTo>
                  <a:cubicBezTo>
                    <a:pt x="111" y="205"/>
                    <a:pt x="146" y="164"/>
                    <a:pt x="193" y="152"/>
                  </a:cubicBezTo>
                  <a:lnTo>
                    <a:pt x="368" y="111"/>
                  </a:lnTo>
                  <a:lnTo>
                    <a:pt x="666" y="193"/>
                  </a:lnTo>
                  <a:cubicBezTo>
                    <a:pt x="669" y="194"/>
                    <a:pt x="673" y="194"/>
                    <a:pt x="677" y="194"/>
                  </a:cubicBezTo>
                  <a:cubicBezTo>
                    <a:pt x="702" y="194"/>
                    <a:pt x="725" y="177"/>
                    <a:pt x="736" y="152"/>
                  </a:cubicBezTo>
                  <a:cubicBezTo>
                    <a:pt x="741" y="123"/>
                    <a:pt x="724" y="94"/>
                    <a:pt x="695" y="88"/>
                  </a:cubicBezTo>
                  <a:lnTo>
                    <a:pt x="385" y="0"/>
                  </a:ln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58" name="Google Shape;239;p18">
              <a:extLst>
                <a:ext uri="{FF2B5EF4-FFF2-40B4-BE49-F238E27FC236}">
                  <a16:creationId xmlns:a16="http://schemas.microsoft.com/office/drawing/2014/main" id="{8270EA5B-60EE-29FA-0E6D-EA1B106ADDEA}"/>
                </a:ext>
              </a:extLst>
            </p:cNvPr>
            <p:cNvSpPr/>
            <p:nvPr/>
          </p:nvSpPr>
          <p:spPr>
            <a:xfrm>
              <a:off x="1990909" y="1790981"/>
              <a:ext cx="55370" cy="63759"/>
            </a:xfrm>
            <a:custGeom>
              <a:avLst/>
              <a:gdLst/>
              <a:ahLst/>
              <a:cxnLst/>
              <a:rect l="l" t="t" r="r" b="b"/>
              <a:pathLst>
                <a:path w="462" h="532" extrusionOk="0">
                  <a:moveTo>
                    <a:pt x="240" y="111"/>
                  </a:moveTo>
                  <a:cubicBezTo>
                    <a:pt x="304" y="111"/>
                    <a:pt x="351" y="158"/>
                    <a:pt x="351" y="222"/>
                  </a:cubicBezTo>
                  <a:lnTo>
                    <a:pt x="351" y="310"/>
                  </a:lnTo>
                  <a:cubicBezTo>
                    <a:pt x="351" y="374"/>
                    <a:pt x="304" y="426"/>
                    <a:pt x="240" y="426"/>
                  </a:cubicBezTo>
                  <a:lnTo>
                    <a:pt x="222" y="426"/>
                  </a:lnTo>
                  <a:cubicBezTo>
                    <a:pt x="164" y="426"/>
                    <a:pt x="111" y="374"/>
                    <a:pt x="111" y="310"/>
                  </a:cubicBezTo>
                  <a:lnTo>
                    <a:pt x="111" y="222"/>
                  </a:lnTo>
                  <a:cubicBezTo>
                    <a:pt x="111" y="158"/>
                    <a:pt x="164" y="111"/>
                    <a:pt x="222" y="111"/>
                  </a:cubicBezTo>
                  <a:close/>
                  <a:moveTo>
                    <a:pt x="222" y="0"/>
                  </a:moveTo>
                  <a:cubicBezTo>
                    <a:pt x="100" y="0"/>
                    <a:pt x="1" y="99"/>
                    <a:pt x="1" y="222"/>
                  </a:cubicBezTo>
                  <a:lnTo>
                    <a:pt x="1" y="310"/>
                  </a:lnTo>
                  <a:cubicBezTo>
                    <a:pt x="1" y="432"/>
                    <a:pt x="100" y="531"/>
                    <a:pt x="222" y="531"/>
                  </a:cubicBezTo>
                  <a:lnTo>
                    <a:pt x="240" y="531"/>
                  </a:lnTo>
                  <a:cubicBezTo>
                    <a:pt x="362" y="531"/>
                    <a:pt x="462" y="432"/>
                    <a:pt x="462" y="310"/>
                  </a:cubicBezTo>
                  <a:lnTo>
                    <a:pt x="462" y="222"/>
                  </a:lnTo>
                  <a:cubicBezTo>
                    <a:pt x="462" y="99"/>
                    <a:pt x="362" y="0"/>
                    <a:pt x="240" y="0"/>
                  </a:cubicBez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  <p:sp>
          <p:nvSpPr>
            <p:cNvPr id="59" name="Google Shape;240;p18">
              <a:extLst>
                <a:ext uri="{FF2B5EF4-FFF2-40B4-BE49-F238E27FC236}">
                  <a16:creationId xmlns:a16="http://schemas.microsoft.com/office/drawing/2014/main" id="{57CB0610-85AB-6878-F9C6-5E88EFDDA341}"/>
                </a:ext>
              </a:extLst>
            </p:cNvPr>
            <p:cNvSpPr/>
            <p:nvPr/>
          </p:nvSpPr>
          <p:spPr>
            <a:xfrm>
              <a:off x="1974131" y="1842036"/>
              <a:ext cx="88927" cy="222557"/>
            </a:xfrm>
            <a:custGeom>
              <a:avLst/>
              <a:gdLst/>
              <a:ahLst/>
              <a:cxnLst/>
              <a:rect l="l" t="t" r="r" b="b"/>
              <a:pathLst>
                <a:path w="742" h="1857" extrusionOk="0">
                  <a:moveTo>
                    <a:pt x="356" y="0"/>
                  </a:moveTo>
                  <a:lnTo>
                    <a:pt x="47" y="88"/>
                  </a:lnTo>
                  <a:cubicBezTo>
                    <a:pt x="18" y="94"/>
                    <a:pt x="0" y="123"/>
                    <a:pt x="6" y="152"/>
                  </a:cubicBezTo>
                  <a:cubicBezTo>
                    <a:pt x="16" y="177"/>
                    <a:pt x="40" y="194"/>
                    <a:pt x="65" y="194"/>
                  </a:cubicBezTo>
                  <a:cubicBezTo>
                    <a:pt x="69" y="194"/>
                    <a:pt x="73" y="194"/>
                    <a:pt x="76" y="193"/>
                  </a:cubicBezTo>
                  <a:lnTo>
                    <a:pt x="374" y="111"/>
                  </a:lnTo>
                  <a:lnTo>
                    <a:pt x="549" y="152"/>
                  </a:lnTo>
                  <a:cubicBezTo>
                    <a:pt x="596" y="164"/>
                    <a:pt x="631" y="205"/>
                    <a:pt x="631" y="251"/>
                  </a:cubicBezTo>
                  <a:lnTo>
                    <a:pt x="631" y="847"/>
                  </a:lnTo>
                  <a:lnTo>
                    <a:pt x="526" y="963"/>
                  </a:lnTo>
                  <a:cubicBezTo>
                    <a:pt x="520" y="969"/>
                    <a:pt x="514" y="981"/>
                    <a:pt x="514" y="998"/>
                  </a:cubicBezTo>
                  <a:lnTo>
                    <a:pt x="462" y="1751"/>
                  </a:lnTo>
                  <a:lnTo>
                    <a:pt x="281" y="1751"/>
                  </a:lnTo>
                  <a:lnTo>
                    <a:pt x="234" y="998"/>
                  </a:lnTo>
                  <a:cubicBezTo>
                    <a:pt x="234" y="981"/>
                    <a:pt x="228" y="969"/>
                    <a:pt x="222" y="963"/>
                  </a:cubicBezTo>
                  <a:lnTo>
                    <a:pt x="100" y="829"/>
                  </a:lnTo>
                  <a:cubicBezTo>
                    <a:pt x="90" y="817"/>
                    <a:pt x="76" y="811"/>
                    <a:pt x="61" y="811"/>
                  </a:cubicBezTo>
                  <a:cubicBezTo>
                    <a:pt x="48" y="811"/>
                    <a:pt x="35" y="815"/>
                    <a:pt x="24" y="823"/>
                  </a:cubicBezTo>
                  <a:cubicBezTo>
                    <a:pt x="0" y="847"/>
                    <a:pt x="0" y="882"/>
                    <a:pt x="18" y="905"/>
                  </a:cubicBezTo>
                  <a:lnTo>
                    <a:pt x="123" y="1022"/>
                  </a:lnTo>
                  <a:lnTo>
                    <a:pt x="176" y="1810"/>
                  </a:lnTo>
                  <a:cubicBezTo>
                    <a:pt x="176" y="1833"/>
                    <a:pt x="199" y="1856"/>
                    <a:pt x="228" y="1856"/>
                  </a:cubicBezTo>
                  <a:lnTo>
                    <a:pt x="514" y="1856"/>
                  </a:lnTo>
                  <a:cubicBezTo>
                    <a:pt x="543" y="1856"/>
                    <a:pt x="567" y="1833"/>
                    <a:pt x="572" y="1810"/>
                  </a:cubicBezTo>
                  <a:lnTo>
                    <a:pt x="619" y="1022"/>
                  </a:lnTo>
                  <a:lnTo>
                    <a:pt x="730" y="905"/>
                  </a:lnTo>
                  <a:cubicBezTo>
                    <a:pt x="736" y="893"/>
                    <a:pt x="742" y="882"/>
                    <a:pt x="742" y="864"/>
                  </a:cubicBezTo>
                  <a:lnTo>
                    <a:pt x="742" y="251"/>
                  </a:lnTo>
                  <a:cubicBezTo>
                    <a:pt x="742" y="158"/>
                    <a:pt x="672" y="70"/>
                    <a:pt x="572" y="47"/>
                  </a:cubicBezTo>
                  <a:lnTo>
                    <a:pt x="386" y="0"/>
                  </a:lnTo>
                  <a:close/>
                </a:path>
              </a:pathLst>
            </a:custGeom>
            <a:solidFill>
              <a:srgbClr val="65142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 defTabSz="1219169" hangingPunct="0"/>
              <a:endParaRPr sz="2400" kern="0">
                <a:solidFill>
                  <a:srgbClr val="000000"/>
                </a:solidFill>
                <a:latin typeface="Arial"/>
                <a:sym typeface="Helvetica Neue"/>
              </a:endParaRPr>
            </a:p>
          </p:txBody>
        </p:sp>
      </p:grpSp>
      <p:grpSp>
        <p:nvGrpSpPr>
          <p:cNvPr id="60" name="Google Shape;1181;p37">
            <a:extLst>
              <a:ext uri="{FF2B5EF4-FFF2-40B4-BE49-F238E27FC236}">
                <a16:creationId xmlns:a16="http://schemas.microsoft.com/office/drawing/2014/main" id="{F9CCBFD5-F1AC-C32C-E9D3-75D92F99A6D6}"/>
              </a:ext>
            </a:extLst>
          </p:cNvPr>
          <p:cNvGrpSpPr/>
          <p:nvPr/>
        </p:nvGrpSpPr>
        <p:grpSpPr>
          <a:xfrm>
            <a:off x="3590349" y="1747500"/>
            <a:ext cx="321242" cy="452943"/>
            <a:chOff x="2549746" y="2192108"/>
            <a:chExt cx="272476" cy="371777"/>
          </a:xfrm>
        </p:grpSpPr>
        <p:sp>
          <p:nvSpPr>
            <p:cNvPr id="61" name="Google Shape;1182;p37">
              <a:extLst>
                <a:ext uri="{FF2B5EF4-FFF2-40B4-BE49-F238E27FC236}">
                  <a16:creationId xmlns:a16="http://schemas.microsoft.com/office/drawing/2014/main" id="{C7741BE2-05DC-53B8-233D-0B2DDD3A9BA7}"/>
                </a:ext>
              </a:extLst>
            </p:cNvPr>
            <p:cNvSpPr/>
            <p:nvPr/>
          </p:nvSpPr>
          <p:spPr>
            <a:xfrm>
              <a:off x="2771448" y="2500703"/>
              <a:ext cx="12413" cy="12413"/>
            </a:xfrm>
            <a:custGeom>
              <a:avLst/>
              <a:gdLst/>
              <a:ahLst/>
              <a:cxnLst/>
              <a:rect l="l" t="t" r="r" b="b"/>
              <a:pathLst>
                <a:path w="100" h="100" extrusionOk="0">
                  <a:moveTo>
                    <a:pt x="0" y="1"/>
                  </a:moveTo>
                  <a:lnTo>
                    <a:pt x="0" y="100"/>
                  </a:lnTo>
                  <a:lnTo>
                    <a:pt x="100" y="1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2" name="Google Shape;1183;p37">
              <a:extLst>
                <a:ext uri="{FF2B5EF4-FFF2-40B4-BE49-F238E27FC236}">
                  <a16:creationId xmlns:a16="http://schemas.microsoft.com/office/drawing/2014/main" id="{137217F2-2EB5-FF51-253E-F7DDAFDFE074}"/>
                </a:ext>
              </a:extLst>
            </p:cNvPr>
            <p:cNvSpPr/>
            <p:nvPr/>
          </p:nvSpPr>
          <p:spPr>
            <a:xfrm>
              <a:off x="2549746" y="2192108"/>
              <a:ext cx="272476" cy="371777"/>
            </a:xfrm>
            <a:custGeom>
              <a:avLst/>
              <a:gdLst/>
              <a:ahLst/>
              <a:cxnLst/>
              <a:rect l="l" t="t" r="r" b="b"/>
              <a:pathLst>
                <a:path w="2195" h="2995" extrusionOk="0">
                  <a:moveTo>
                    <a:pt x="1098" y="59"/>
                  </a:moveTo>
                  <a:cubicBezTo>
                    <a:pt x="1139" y="59"/>
                    <a:pt x="1174" y="88"/>
                    <a:pt x="1185" y="129"/>
                  </a:cubicBezTo>
                  <a:cubicBezTo>
                    <a:pt x="1191" y="135"/>
                    <a:pt x="1191" y="146"/>
                    <a:pt x="1191" y="158"/>
                  </a:cubicBezTo>
                  <a:cubicBezTo>
                    <a:pt x="1191" y="170"/>
                    <a:pt x="1191" y="181"/>
                    <a:pt x="1185" y="187"/>
                  </a:cubicBezTo>
                  <a:lnTo>
                    <a:pt x="1436" y="187"/>
                  </a:lnTo>
                  <a:lnTo>
                    <a:pt x="1436" y="403"/>
                  </a:lnTo>
                  <a:lnTo>
                    <a:pt x="759" y="403"/>
                  </a:lnTo>
                  <a:lnTo>
                    <a:pt x="759" y="187"/>
                  </a:lnTo>
                  <a:lnTo>
                    <a:pt x="1004" y="187"/>
                  </a:lnTo>
                  <a:cubicBezTo>
                    <a:pt x="1004" y="181"/>
                    <a:pt x="999" y="170"/>
                    <a:pt x="999" y="158"/>
                  </a:cubicBezTo>
                  <a:cubicBezTo>
                    <a:pt x="999" y="146"/>
                    <a:pt x="1004" y="135"/>
                    <a:pt x="1004" y="129"/>
                  </a:cubicBezTo>
                  <a:cubicBezTo>
                    <a:pt x="1016" y="88"/>
                    <a:pt x="1057" y="59"/>
                    <a:pt x="1098" y="59"/>
                  </a:cubicBezTo>
                  <a:close/>
                  <a:moveTo>
                    <a:pt x="1886" y="2487"/>
                  </a:moveTo>
                  <a:lnTo>
                    <a:pt x="1786" y="2586"/>
                  </a:lnTo>
                  <a:lnTo>
                    <a:pt x="1786" y="2487"/>
                  </a:lnTo>
                  <a:close/>
                  <a:moveTo>
                    <a:pt x="1932" y="403"/>
                  </a:moveTo>
                  <a:lnTo>
                    <a:pt x="1932" y="2422"/>
                  </a:lnTo>
                  <a:lnTo>
                    <a:pt x="1722" y="2422"/>
                  </a:lnTo>
                  <a:lnTo>
                    <a:pt x="1722" y="2627"/>
                  </a:lnTo>
                  <a:lnTo>
                    <a:pt x="263" y="2627"/>
                  </a:lnTo>
                  <a:lnTo>
                    <a:pt x="263" y="403"/>
                  </a:lnTo>
                  <a:lnTo>
                    <a:pt x="695" y="403"/>
                  </a:lnTo>
                  <a:lnTo>
                    <a:pt x="695" y="467"/>
                  </a:lnTo>
                  <a:lnTo>
                    <a:pt x="1500" y="467"/>
                  </a:lnTo>
                  <a:lnTo>
                    <a:pt x="1500" y="403"/>
                  </a:lnTo>
                  <a:close/>
                  <a:moveTo>
                    <a:pt x="2131" y="245"/>
                  </a:moveTo>
                  <a:lnTo>
                    <a:pt x="2131" y="2930"/>
                  </a:lnTo>
                  <a:lnTo>
                    <a:pt x="59" y="2930"/>
                  </a:lnTo>
                  <a:lnTo>
                    <a:pt x="59" y="245"/>
                  </a:lnTo>
                  <a:lnTo>
                    <a:pt x="695" y="245"/>
                  </a:lnTo>
                  <a:lnTo>
                    <a:pt x="695" y="339"/>
                  </a:lnTo>
                  <a:lnTo>
                    <a:pt x="199" y="339"/>
                  </a:lnTo>
                  <a:lnTo>
                    <a:pt x="199" y="2691"/>
                  </a:lnTo>
                  <a:lnTo>
                    <a:pt x="1763" y="2691"/>
                  </a:lnTo>
                  <a:lnTo>
                    <a:pt x="1991" y="2469"/>
                  </a:lnTo>
                  <a:lnTo>
                    <a:pt x="1991" y="339"/>
                  </a:lnTo>
                  <a:lnTo>
                    <a:pt x="1495" y="339"/>
                  </a:lnTo>
                  <a:lnTo>
                    <a:pt x="1495" y="245"/>
                  </a:lnTo>
                  <a:close/>
                  <a:moveTo>
                    <a:pt x="1098" y="0"/>
                  </a:moveTo>
                  <a:cubicBezTo>
                    <a:pt x="1022" y="0"/>
                    <a:pt x="958" y="53"/>
                    <a:pt x="940" y="129"/>
                  </a:cubicBezTo>
                  <a:lnTo>
                    <a:pt x="695" y="129"/>
                  </a:lnTo>
                  <a:lnTo>
                    <a:pt x="695" y="181"/>
                  </a:lnTo>
                  <a:lnTo>
                    <a:pt x="0" y="181"/>
                  </a:lnTo>
                  <a:lnTo>
                    <a:pt x="0" y="2994"/>
                  </a:lnTo>
                  <a:lnTo>
                    <a:pt x="2195" y="2994"/>
                  </a:lnTo>
                  <a:lnTo>
                    <a:pt x="2195" y="181"/>
                  </a:lnTo>
                  <a:lnTo>
                    <a:pt x="1500" y="181"/>
                  </a:lnTo>
                  <a:lnTo>
                    <a:pt x="1500" y="129"/>
                  </a:lnTo>
                  <a:lnTo>
                    <a:pt x="1255" y="129"/>
                  </a:lnTo>
                  <a:cubicBezTo>
                    <a:pt x="1238" y="53"/>
                    <a:pt x="1174" y="0"/>
                    <a:pt x="1098" y="0"/>
                  </a:cubicBez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3" name="Google Shape;1184;p37">
              <a:extLst>
                <a:ext uri="{FF2B5EF4-FFF2-40B4-BE49-F238E27FC236}">
                  <a16:creationId xmlns:a16="http://schemas.microsoft.com/office/drawing/2014/main" id="{910C70A7-0C2E-62A9-7AF9-41C18FE070D2}"/>
                </a:ext>
              </a:extLst>
            </p:cNvPr>
            <p:cNvSpPr/>
            <p:nvPr/>
          </p:nvSpPr>
          <p:spPr>
            <a:xfrm>
              <a:off x="2603371" y="2296380"/>
              <a:ext cx="31282" cy="31281"/>
            </a:xfrm>
            <a:custGeom>
              <a:avLst/>
              <a:gdLst/>
              <a:ahLst/>
              <a:cxnLst/>
              <a:rect l="l" t="t" r="r" b="b"/>
              <a:pathLst>
                <a:path w="252" h="252" extrusionOk="0">
                  <a:moveTo>
                    <a:pt x="187" y="59"/>
                  </a:moveTo>
                  <a:lnTo>
                    <a:pt x="187" y="187"/>
                  </a:lnTo>
                  <a:lnTo>
                    <a:pt x="59" y="187"/>
                  </a:lnTo>
                  <a:lnTo>
                    <a:pt x="59" y="59"/>
                  </a:lnTo>
                  <a:close/>
                  <a:moveTo>
                    <a:pt x="0" y="1"/>
                  </a:moveTo>
                  <a:lnTo>
                    <a:pt x="0" y="252"/>
                  </a:lnTo>
                  <a:lnTo>
                    <a:pt x="251" y="252"/>
                  </a:lnTo>
                  <a:lnTo>
                    <a:pt x="251" y="1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4" name="Google Shape;1185;p37">
              <a:extLst>
                <a:ext uri="{FF2B5EF4-FFF2-40B4-BE49-F238E27FC236}">
                  <a16:creationId xmlns:a16="http://schemas.microsoft.com/office/drawing/2014/main" id="{CB23DBF6-F8D0-E3CF-9C28-AEBDEC8F167F}"/>
                </a:ext>
              </a:extLst>
            </p:cNvPr>
            <p:cNvSpPr/>
            <p:nvPr/>
          </p:nvSpPr>
          <p:spPr>
            <a:xfrm>
              <a:off x="2603371" y="2366639"/>
              <a:ext cx="31282" cy="32026"/>
            </a:xfrm>
            <a:custGeom>
              <a:avLst/>
              <a:gdLst/>
              <a:ahLst/>
              <a:cxnLst/>
              <a:rect l="l" t="t" r="r" b="b"/>
              <a:pathLst>
                <a:path w="252" h="258" extrusionOk="0">
                  <a:moveTo>
                    <a:pt x="187" y="65"/>
                  </a:moveTo>
                  <a:lnTo>
                    <a:pt x="187" y="193"/>
                  </a:lnTo>
                  <a:lnTo>
                    <a:pt x="59" y="193"/>
                  </a:lnTo>
                  <a:lnTo>
                    <a:pt x="59" y="65"/>
                  </a:lnTo>
                  <a:close/>
                  <a:moveTo>
                    <a:pt x="0" y="1"/>
                  </a:moveTo>
                  <a:lnTo>
                    <a:pt x="0" y="258"/>
                  </a:lnTo>
                  <a:lnTo>
                    <a:pt x="251" y="258"/>
                  </a:lnTo>
                  <a:lnTo>
                    <a:pt x="251" y="1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" name="Google Shape;1186;p37">
              <a:extLst>
                <a:ext uri="{FF2B5EF4-FFF2-40B4-BE49-F238E27FC236}">
                  <a16:creationId xmlns:a16="http://schemas.microsoft.com/office/drawing/2014/main" id="{58C3B416-F957-C2DB-2E19-40639DC433B3}"/>
                </a:ext>
              </a:extLst>
            </p:cNvPr>
            <p:cNvSpPr/>
            <p:nvPr/>
          </p:nvSpPr>
          <p:spPr>
            <a:xfrm>
              <a:off x="2603371" y="2436898"/>
              <a:ext cx="31282" cy="32026"/>
            </a:xfrm>
            <a:custGeom>
              <a:avLst/>
              <a:gdLst/>
              <a:ahLst/>
              <a:cxnLst/>
              <a:rect l="l" t="t" r="r" b="b"/>
              <a:pathLst>
                <a:path w="252" h="258" extrusionOk="0">
                  <a:moveTo>
                    <a:pt x="187" y="65"/>
                  </a:moveTo>
                  <a:lnTo>
                    <a:pt x="187" y="194"/>
                  </a:lnTo>
                  <a:lnTo>
                    <a:pt x="59" y="194"/>
                  </a:lnTo>
                  <a:lnTo>
                    <a:pt x="59" y="65"/>
                  </a:lnTo>
                  <a:close/>
                  <a:moveTo>
                    <a:pt x="0" y="1"/>
                  </a:moveTo>
                  <a:lnTo>
                    <a:pt x="0" y="258"/>
                  </a:lnTo>
                  <a:lnTo>
                    <a:pt x="251" y="258"/>
                  </a:lnTo>
                  <a:lnTo>
                    <a:pt x="251" y="1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6" name="Google Shape;1187;p37">
              <a:extLst>
                <a:ext uri="{FF2B5EF4-FFF2-40B4-BE49-F238E27FC236}">
                  <a16:creationId xmlns:a16="http://schemas.microsoft.com/office/drawing/2014/main" id="{A12D6FBA-DCDE-6809-E313-AAB38F207AAA}"/>
                </a:ext>
              </a:extLst>
            </p:cNvPr>
            <p:cNvSpPr/>
            <p:nvPr/>
          </p:nvSpPr>
          <p:spPr>
            <a:xfrm>
              <a:off x="2651163" y="2319593"/>
              <a:ext cx="110232" cy="8069"/>
            </a:xfrm>
            <a:custGeom>
              <a:avLst/>
              <a:gdLst/>
              <a:ahLst/>
              <a:cxnLst/>
              <a:rect l="l" t="t" r="r" b="b"/>
              <a:pathLst>
                <a:path w="888" h="65" extrusionOk="0">
                  <a:moveTo>
                    <a:pt x="1" y="0"/>
                  </a:moveTo>
                  <a:lnTo>
                    <a:pt x="1" y="65"/>
                  </a:lnTo>
                  <a:lnTo>
                    <a:pt x="888" y="65"/>
                  </a:lnTo>
                  <a:lnTo>
                    <a:pt x="888" y="0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7" name="Google Shape;1188;p37">
              <a:extLst>
                <a:ext uri="{FF2B5EF4-FFF2-40B4-BE49-F238E27FC236}">
                  <a16:creationId xmlns:a16="http://schemas.microsoft.com/office/drawing/2014/main" id="{7700C5E6-2644-D666-6C62-5DDC7BAC59F0}"/>
                </a:ext>
              </a:extLst>
            </p:cNvPr>
            <p:cNvSpPr/>
            <p:nvPr/>
          </p:nvSpPr>
          <p:spPr>
            <a:xfrm>
              <a:off x="2651163" y="2390597"/>
              <a:ext cx="110232" cy="7324"/>
            </a:xfrm>
            <a:custGeom>
              <a:avLst/>
              <a:gdLst/>
              <a:ahLst/>
              <a:cxnLst/>
              <a:rect l="l" t="t" r="r" b="b"/>
              <a:pathLst>
                <a:path w="888" h="59" extrusionOk="0">
                  <a:moveTo>
                    <a:pt x="1" y="0"/>
                  </a:moveTo>
                  <a:lnTo>
                    <a:pt x="1" y="59"/>
                  </a:lnTo>
                  <a:lnTo>
                    <a:pt x="888" y="59"/>
                  </a:lnTo>
                  <a:lnTo>
                    <a:pt x="888" y="0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" name="Google Shape;1189;p37">
              <a:extLst>
                <a:ext uri="{FF2B5EF4-FFF2-40B4-BE49-F238E27FC236}">
                  <a16:creationId xmlns:a16="http://schemas.microsoft.com/office/drawing/2014/main" id="{80FDAED1-6BF3-F6DA-4D5D-BEB623BF162C}"/>
                </a:ext>
              </a:extLst>
            </p:cNvPr>
            <p:cNvSpPr/>
            <p:nvPr/>
          </p:nvSpPr>
          <p:spPr>
            <a:xfrm>
              <a:off x="2651163" y="2460856"/>
              <a:ext cx="110232" cy="8069"/>
            </a:xfrm>
            <a:custGeom>
              <a:avLst/>
              <a:gdLst/>
              <a:ahLst/>
              <a:cxnLst/>
              <a:rect l="l" t="t" r="r" b="b"/>
              <a:pathLst>
                <a:path w="888" h="65" extrusionOk="0">
                  <a:moveTo>
                    <a:pt x="1" y="1"/>
                  </a:moveTo>
                  <a:lnTo>
                    <a:pt x="1" y="65"/>
                  </a:lnTo>
                  <a:lnTo>
                    <a:pt x="888" y="65"/>
                  </a:lnTo>
                  <a:lnTo>
                    <a:pt x="888" y="1"/>
                  </a:lnTo>
                  <a:close/>
                </a:path>
              </a:pathLst>
            </a:custGeom>
            <a:solidFill>
              <a:srgbClr val="FFB174"/>
            </a:solidFill>
            <a:ln>
              <a:solidFill>
                <a:srgbClr val="FFB174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9" name="Google Shape;1196;p37">
            <a:extLst>
              <a:ext uri="{FF2B5EF4-FFF2-40B4-BE49-F238E27FC236}">
                <a16:creationId xmlns:a16="http://schemas.microsoft.com/office/drawing/2014/main" id="{41707C47-BBCC-9414-34FD-9A6534BEB990}"/>
              </a:ext>
            </a:extLst>
          </p:cNvPr>
          <p:cNvGrpSpPr/>
          <p:nvPr/>
        </p:nvGrpSpPr>
        <p:grpSpPr>
          <a:xfrm>
            <a:off x="1784798" y="1775505"/>
            <a:ext cx="309831" cy="403892"/>
            <a:chOff x="1127549" y="2177336"/>
            <a:chExt cx="258077" cy="410384"/>
          </a:xfrm>
        </p:grpSpPr>
        <p:sp>
          <p:nvSpPr>
            <p:cNvPr id="70" name="Google Shape;1197;p37">
              <a:extLst>
                <a:ext uri="{FF2B5EF4-FFF2-40B4-BE49-F238E27FC236}">
                  <a16:creationId xmlns:a16="http://schemas.microsoft.com/office/drawing/2014/main" id="{4276AB7F-94E4-C01A-188E-2B5216C3639B}"/>
                </a:ext>
              </a:extLst>
            </p:cNvPr>
            <p:cNvSpPr/>
            <p:nvPr/>
          </p:nvSpPr>
          <p:spPr>
            <a:xfrm>
              <a:off x="1127549" y="2177336"/>
              <a:ext cx="258077" cy="319145"/>
            </a:xfrm>
            <a:custGeom>
              <a:avLst/>
              <a:gdLst/>
              <a:ahLst/>
              <a:cxnLst/>
              <a:rect l="l" t="t" r="r" b="b"/>
              <a:pathLst>
                <a:path w="2079" h="2571" extrusionOk="0">
                  <a:moveTo>
                    <a:pt x="1040" y="67"/>
                  </a:moveTo>
                  <a:cubicBezTo>
                    <a:pt x="1057" y="67"/>
                    <a:pt x="1080" y="67"/>
                    <a:pt x="1098" y="73"/>
                  </a:cubicBezTo>
                  <a:cubicBezTo>
                    <a:pt x="1594" y="102"/>
                    <a:pt x="1997" y="516"/>
                    <a:pt x="2008" y="1012"/>
                  </a:cubicBezTo>
                  <a:cubicBezTo>
                    <a:pt x="2008" y="1193"/>
                    <a:pt x="1968" y="1362"/>
                    <a:pt x="1880" y="1514"/>
                  </a:cubicBezTo>
                  <a:cubicBezTo>
                    <a:pt x="1775" y="1701"/>
                    <a:pt x="1699" y="1859"/>
                    <a:pt x="1641" y="2004"/>
                  </a:cubicBezTo>
                  <a:lnTo>
                    <a:pt x="1460" y="2483"/>
                  </a:lnTo>
                  <a:cubicBezTo>
                    <a:pt x="1454" y="2495"/>
                    <a:pt x="1448" y="2501"/>
                    <a:pt x="1436" y="2501"/>
                  </a:cubicBezTo>
                  <a:lnTo>
                    <a:pt x="637" y="2501"/>
                  </a:lnTo>
                  <a:cubicBezTo>
                    <a:pt x="625" y="2501"/>
                    <a:pt x="619" y="2495"/>
                    <a:pt x="614" y="2483"/>
                  </a:cubicBezTo>
                  <a:lnTo>
                    <a:pt x="438" y="2022"/>
                  </a:lnTo>
                  <a:cubicBezTo>
                    <a:pt x="380" y="1864"/>
                    <a:pt x="304" y="1713"/>
                    <a:pt x="193" y="1508"/>
                  </a:cubicBezTo>
                  <a:cubicBezTo>
                    <a:pt x="112" y="1368"/>
                    <a:pt x="71" y="1205"/>
                    <a:pt x="71" y="1036"/>
                  </a:cubicBezTo>
                  <a:cubicBezTo>
                    <a:pt x="71" y="767"/>
                    <a:pt x="176" y="516"/>
                    <a:pt x="374" y="329"/>
                  </a:cubicBezTo>
                  <a:cubicBezTo>
                    <a:pt x="555" y="160"/>
                    <a:pt x="789" y="67"/>
                    <a:pt x="1040" y="67"/>
                  </a:cubicBezTo>
                  <a:close/>
                  <a:moveTo>
                    <a:pt x="1038" y="1"/>
                  </a:moveTo>
                  <a:cubicBezTo>
                    <a:pt x="771" y="1"/>
                    <a:pt x="522" y="99"/>
                    <a:pt x="328" y="283"/>
                  </a:cubicBezTo>
                  <a:cubicBezTo>
                    <a:pt x="117" y="475"/>
                    <a:pt x="1" y="750"/>
                    <a:pt x="1" y="1036"/>
                  </a:cubicBezTo>
                  <a:cubicBezTo>
                    <a:pt x="1" y="1217"/>
                    <a:pt x="47" y="1392"/>
                    <a:pt x="129" y="1543"/>
                  </a:cubicBezTo>
                  <a:cubicBezTo>
                    <a:pt x="240" y="1742"/>
                    <a:pt x="316" y="1899"/>
                    <a:pt x="374" y="2045"/>
                  </a:cubicBezTo>
                  <a:lnTo>
                    <a:pt x="549" y="2512"/>
                  </a:lnTo>
                  <a:cubicBezTo>
                    <a:pt x="561" y="2547"/>
                    <a:pt x="596" y="2571"/>
                    <a:pt x="637" y="2571"/>
                  </a:cubicBezTo>
                  <a:lnTo>
                    <a:pt x="1436" y="2571"/>
                  </a:lnTo>
                  <a:cubicBezTo>
                    <a:pt x="1477" y="2571"/>
                    <a:pt x="1512" y="2547"/>
                    <a:pt x="1524" y="2512"/>
                  </a:cubicBezTo>
                  <a:lnTo>
                    <a:pt x="1711" y="2028"/>
                  </a:lnTo>
                  <a:cubicBezTo>
                    <a:pt x="1763" y="1882"/>
                    <a:pt x="1839" y="1736"/>
                    <a:pt x="1938" y="1549"/>
                  </a:cubicBezTo>
                  <a:cubicBezTo>
                    <a:pt x="2032" y="1392"/>
                    <a:pt x="2078" y="1205"/>
                    <a:pt x="2078" y="1012"/>
                  </a:cubicBezTo>
                  <a:cubicBezTo>
                    <a:pt x="2067" y="481"/>
                    <a:pt x="1635" y="38"/>
                    <a:pt x="1104" y="3"/>
                  </a:cubicBezTo>
                  <a:cubicBezTo>
                    <a:pt x="1082" y="1"/>
                    <a:pt x="1060" y="1"/>
                    <a:pt x="1038" y="1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1" name="Google Shape;1198;p37">
              <a:extLst>
                <a:ext uri="{FF2B5EF4-FFF2-40B4-BE49-F238E27FC236}">
                  <a16:creationId xmlns:a16="http://schemas.microsoft.com/office/drawing/2014/main" id="{C9DB81EE-C901-C11E-5944-DBBD08D03CB2}"/>
                </a:ext>
              </a:extLst>
            </p:cNvPr>
            <p:cNvSpPr/>
            <p:nvPr/>
          </p:nvSpPr>
          <p:spPr>
            <a:xfrm>
              <a:off x="1202153" y="2510882"/>
              <a:ext cx="108122" cy="8813"/>
            </a:xfrm>
            <a:custGeom>
              <a:avLst/>
              <a:gdLst/>
              <a:ahLst/>
              <a:cxnLst/>
              <a:rect l="l" t="t" r="r" b="b"/>
              <a:pathLst>
                <a:path w="871" h="71" extrusionOk="0">
                  <a:moveTo>
                    <a:pt x="36" y="0"/>
                  </a:moveTo>
                  <a:cubicBezTo>
                    <a:pt x="18" y="0"/>
                    <a:pt x="1" y="12"/>
                    <a:pt x="1" y="35"/>
                  </a:cubicBezTo>
                  <a:cubicBezTo>
                    <a:pt x="1" y="53"/>
                    <a:pt x="18" y="70"/>
                    <a:pt x="36" y="70"/>
                  </a:cubicBezTo>
                  <a:lnTo>
                    <a:pt x="835" y="70"/>
                  </a:lnTo>
                  <a:cubicBezTo>
                    <a:pt x="859" y="70"/>
                    <a:pt x="870" y="53"/>
                    <a:pt x="870" y="35"/>
                  </a:cubicBezTo>
                  <a:cubicBezTo>
                    <a:pt x="870" y="12"/>
                    <a:pt x="859" y="0"/>
                    <a:pt x="835" y="0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" name="Google Shape;1199;p37">
              <a:extLst>
                <a:ext uri="{FF2B5EF4-FFF2-40B4-BE49-F238E27FC236}">
                  <a16:creationId xmlns:a16="http://schemas.microsoft.com/office/drawing/2014/main" id="{BE370B2F-7655-8D09-D5A6-BF4F71E81958}"/>
                </a:ext>
              </a:extLst>
            </p:cNvPr>
            <p:cNvSpPr/>
            <p:nvPr/>
          </p:nvSpPr>
          <p:spPr>
            <a:xfrm>
              <a:off x="1212332" y="2533350"/>
              <a:ext cx="88508" cy="8813"/>
            </a:xfrm>
            <a:custGeom>
              <a:avLst/>
              <a:gdLst/>
              <a:ahLst/>
              <a:cxnLst/>
              <a:rect l="l" t="t" r="r" b="b"/>
              <a:pathLst>
                <a:path w="713" h="71" extrusionOk="0">
                  <a:moveTo>
                    <a:pt x="36" y="0"/>
                  </a:moveTo>
                  <a:cubicBezTo>
                    <a:pt x="18" y="0"/>
                    <a:pt x="1" y="18"/>
                    <a:pt x="1" y="35"/>
                  </a:cubicBezTo>
                  <a:cubicBezTo>
                    <a:pt x="1" y="53"/>
                    <a:pt x="18" y="70"/>
                    <a:pt x="36" y="70"/>
                  </a:cubicBezTo>
                  <a:lnTo>
                    <a:pt x="678" y="70"/>
                  </a:lnTo>
                  <a:cubicBezTo>
                    <a:pt x="695" y="70"/>
                    <a:pt x="713" y="53"/>
                    <a:pt x="713" y="35"/>
                  </a:cubicBezTo>
                  <a:cubicBezTo>
                    <a:pt x="713" y="18"/>
                    <a:pt x="695" y="0"/>
                    <a:pt x="678" y="0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" name="Google Shape;1200;p37">
              <a:extLst>
                <a:ext uri="{FF2B5EF4-FFF2-40B4-BE49-F238E27FC236}">
                  <a16:creationId xmlns:a16="http://schemas.microsoft.com/office/drawing/2014/main" id="{ADFE9C90-3990-FD33-E3C6-DC818311DC10}"/>
                </a:ext>
              </a:extLst>
            </p:cNvPr>
            <p:cNvSpPr/>
            <p:nvPr/>
          </p:nvSpPr>
          <p:spPr>
            <a:xfrm>
              <a:off x="1218166" y="2555818"/>
              <a:ext cx="76219" cy="9558"/>
            </a:xfrm>
            <a:custGeom>
              <a:avLst/>
              <a:gdLst/>
              <a:ahLst/>
              <a:cxnLst/>
              <a:rect l="l" t="t" r="r" b="b"/>
              <a:pathLst>
                <a:path w="614" h="77" extrusionOk="0">
                  <a:moveTo>
                    <a:pt x="35" y="0"/>
                  </a:moveTo>
                  <a:cubicBezTo>
                    <a:pt x="18" y="0"/>
                    <a:pt x="0" y="18"/>
                    <a:pt x="0" y="35"/>
                  </a:cubicBezTo>
                  <a:cubicBezTo>
                    <a:pt x="0" y="59"/>
                    <a:pt x="18" y="76"/>
                    <a:pt x="35" y="76"/>
                  </a:cubicBezTo>
                  <a:lnTo>
                    <a:pt x="578" y="76"/>
                  </a:lnTo>
                  <a:cubicBezTo>
                    <a:pt x="601" y="76"/>
                    <a:pt x="613" y="59"/>
                    <a:pt x="613" y="35"/>
                  </a:cubicBezTo>
                  <a:cubicBezTo>
                    <a:pt x="613" y="18"/>
                    <a:pt x="601" y="0"/>
                    <a:pt x="578" y="0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4" name="Google Shape;1201;p37">
              <a:extLst>
                <a:ext uri="{FF2B5EF4-FFF2-40B4-BE49-F238E27FC236}">
                  <a16:creationId xmlns:a16="http://schemas.microsoft.com/office/drawing/2014/main" id="{BC16A38D-B6B4-5E16-2F68-D0FC6A25FD31}"/>
                </a:ext>
              </a:extLst>
            </p:cNvPr>
            <p:cNvSpPr/>
            <p:nvPr/>
          </p:nvSpPr>
          <p:spPr>
            <a:xfrm>
              <a:off x="1239145" y="2578906"/>
              <a:ext cx="34882" cy="8813"/>
            </a:xfrm>
            <a:custGeom>
              <a:avLst/>
              <a:gdLst/>
              <a:ahLst/>
              <a:cxnLst/>
              <a:rect l="l" t="t" r="r" b="b"/>
              <a:pathLst>
                <a:path w="281" h="71" extrusionOk="0">
                  <a:moveTo>
                    <a:pt x="36" y="1"/>
                  </a:moveTo>
                  <a:cubicBezTo>
                    <a:pt x="18" y="1"/>
                    <a:pt x="1" y="13"/>
                    <a:pt x="1" y="36"/>
                  </a:cubicBezTo>
                  <a:cubicBezTo>
                    <a:pt x="1" y="53"/>
                    <a:pt x="18" y="71"/>
                    <a:pt x="36" y="71"/>
                  </a:cubicBezTo>
                  <a:lnTo>
                    <a:pt x="240" y="71"/>
                  </a:lnTo>
                  <a:cubicBezTo>
                    <a:pt x="263" y="71"/>
                    <a:pt x="281" y="53"/>
                    <a:pt x="281" y="36"/>
                  </a:cubicBezTo>
                  <a:cubicBezTo>
                    <a:pt x="281" y="13"/>
                    <a:pt x="263" y="1"/>
                    <a:pt x="240" y="1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" name="Google Shape;1202;p37">
              <a:extLst>
                <a:ext uri="{FF2B5EF4-FFF2-40B4-BE49-F238E27FC236}">
                  <a16:creationId xmlns:a16="http://schemas.microsoft.com/office/drawing/2014/main" id="{F54131A2-8BBD-56D5-784D-A45B22ECF2FE}"/>
                </a:ext>
              </a:extLst>
            </p:cNvPr>
            <p:cNvSpPr/>
            <p:nvPr/>
          </p:nvSpPr>
          <p:spPr>
            <a:xfrm>
              <a:off x="1194954" y="2340571"/>
              <a:ext cx="123266" cy="155910"/>
            </a:xfrm>
            <a:custGeom>
              <a:avLst/>
              <a:gdLst/>
              <a:ahLst/>
              <a:cxnLst/>
              <a:rect l="l" t="t" r="r" b="b"/>
              <a:pathLst>
                <a:path w="993" h="1256" extrusionOk="0">
                  <a:moveTo>
                    <a:pt x="141" y="71"/>
                  </a:moveTo>
                  <a:cubicBezTo>
                    <a:pt x="181" y="71"/>
                    <a:pt x="211" y="100"/>
                    <a:pt x="211" y="141"/>
                  </a:cubicBezTo>
                  <a:lnTo>
                    <a:pt x="211" y="211"/>
                  </a:lnTo>
                  <a:lnTo>
                    <a:pt x="141" y="211"/>
                  </a:lnTo>
                  <a:cubicBezTo>
                    <a:pt x="100" y="211"/>
                    <a:pt x="71" y="182"/>
                    <a:pt x="71" y="141"/>
                  </a:cubicBezTo>
                  <a:cubicBezTo>
                    <a:pt x="71" y="100"/>
                    <a:pt x="100" y="71"/>
                    <a:pt x="141" y="71"/>
                  </a:cubicBezTo>
                  <a:close/>
                  <a:moveTo>
                    <a:pt x="497" y="71"/>
                  </a:moveTo>
                  <a:cubicBezTo>
                    <a:pt x="532" y="71"/>
                    <a:pt x="567" y="100"/>
                    <a:pt x="567" y="141"/>
                  </a:cubicBezTo>
                  <a:cubicBezTo>
                    <a:pt x="567" y="182"/>
                    <a:pt x="532" y="211"/>
                    <a:pt x="497" y="211"/>
                  </a:cubicBezTo>
                  <a:cubicBezTo>
                    <a:pt x="456" y="211"/>
                    <a:pt x="427" y="182"/>
                    <a:pt x="427" y="141"/>
                  </a:cubicBezTo>
                  <a:cubicBezTo>
                    <a:pt x="427" y="100"/>
                    <a:pt x="456" y="71"/>
                    <a:pt x="497" y="71"/>
                  </a:cubicBezTo>
                  <a:close/>
                  <a:moveTo>
                    <a:pt x="847" y="71"/>
                  </a:moveTo>
                  <a:cubicBezTo>
                    <a:pt x="888" y="71"/>
                    <a:pt x="917" y="100"/>
                    <a:pt x="917" y="141"/>
                  </a:cubicBezTo>
                  <a:cubicBezTo>
                    <a:pt x="923" y="182"/>
                    <a:pt x="888" y="211"/>
                    <a:pt x="847" y="211"/>
                  </a:cubicBezTo>
                  <a:lnTo>
                    <a:pt x="777" y="211"/>
                  </a:lnTo>
                  <a:lnTo>
                    <a:pt x="777" y="141"/>
                  </a:lnTo>
                  <a:cubicBezTo>
                    <a:pt x="777" y="100"/>
                    <a:pt x="812" y="71"/>
                    <a:pt x="847" y="71"/>
                  </a:cubicBezTo>
                  <a:close/>
                  <a:moveTo>
                    <a:pt x="141" y="1"/>
                  </a:moveTo>
                  <a:cubicBezTo>
                    <a:pt x="65" y="1"/>
                    <a:pt x="1" y="65"/>
                    <a:pt x="1" y="141"/>
                  </a:cubicBezTo>
                  <a:cubicBezTo>
                    <a:pt x="1" y="217"/>
                    <a:pt x="65" y="281"/>
                    <a:pt x="141" y="281"/>
                  </a:cubicBezTo>
                  <a:lnTo>
                    <a:pt x="211" y="281"/>
                  </a:lnTo>
                  <a:lnTo>
                    <a:pt x="211" y="1221"/>
                  </a:lnTo>
                  <a:cubicBezTo>
                    <a:pt x="211" y="1244"/>
                    <a:pt x="228" y="1256"/>
                    <a:pt x="246" y="1256"/>
                  </a:cubicBezTo>
                  <a:cubicBezTo>
                    <a:pt x="269" y="1256"/>
                    <a:pt x="281" y="1244"/>
                    <a:pt x="281" y="1221"/>
                  </a:cubicBezTo>
                  <a:lnTo>
                    <a:pt x="281" y="281"/>
                  </a:lnTo>
                  <a:lnTo>
                    <a:pt x="707" y="281"/>
                  </a:lnTo>
                  <a:lnTo>
                    <a:pt x="707" y="1221"/>
                  </a:lnTo>
                  <a:cubicBezTo>
                    <a:pt x="707" y="1244"/>
                    <a:pt x="724" y="1256"/>
                    <a:pt x="742" y="1256"/>
                  </a:cubicBezTo>
                  <a:cubicBezTo>
                    <a:pt x="765" y="1256"/>
                    <a:pt x="777" y="1244"/>
                    <a:pt x="777" y="1221"/>
                  </a:cubicBezTo>
                  <a:lnTo>
                    <a:pt x="777" y="281"/>
                  </a:lnTo>
                  <a:lnTo>
                    <a:pt x="853" y="281"/>
                  </a:lnTo>
                  <a:cubicBezTo>
                    <a:pt x="928" y="281"/>
                    <a:pt x="993" y="217"/>
                    <a:pt x="993" y="141"/>
                  </a:cubicBezTo>
                  <a:cubicBezTo>
                    <a:pt x="993" y="65"/>
                    <a:pt x="928" y="1"/>
                    <a:pt x="847" y="1"/>
                  </a:cubicBezTo>
                  <a:cubicBezTo>
                    <a:pt x="818" y="1"/>
                    <a:pt x="788" y="12"/>
                    <a:pt x="765" y="24"/>
                  </a:cubicBezTo>
                  <a:cubicBezTo>
                    <a:pt x="736" y="53"/>
                    <a:pt x="713" y="88"/>
                    <a:pt x="707" y="129"/>
                  </a:cubicBezTo>
                  <a:cubicBezTo>
                    <a:pt x="707" y="129"/>
                    <a:pt x="707" y="135"/>
                    <a:pt x="707" y="141"/>
                  </a:cubicBezTo>
                  <a:lnTo>
                    <a:pt x="707" y="211"/>
                  </a:lnTo>
                  <a:lnTo>
                    <a:pt x="619" y="211"/>
                  </a:lnTo>
                  <a:cubicBezTo>
                    <a:pt x="631" y="188"/>
                    <a:pt x="637" y="164"/>
                    <a:pt x="637" y="141"/>
                  </a:cubicBezTo>
                  <a:cubicBezTo>
                    <a:pt x="637" y="59"/>
                    <a:pt x="572" y="1"/>
                    <a:pt x="497" y="1"/>
                  </a:cubicBezTo>
                  <a:cubicBezTo>
                    <a:pt x="415" y="1"/>
                    <a:pt x="357" y="59"/>
                    <a:pt x="357" y="141"/>
                  </a:cubicBezTo>
                  <a:cubicBezTo>
                    <a:pt x="357" y="164"/>
                    <a:pt x="362" y="188"/>
                    <a:pt x="374" y="211"/>
                  </a:cubicBezTo>
                  <a:lnTo>
                    <a:pt x="281" y="211"/>
                  </a:lnTo>
                  <a:lnTo>
                    <a:pt x="281" y="141"/>
                  </a:lnTo>
                  <a:cubicBezTo>
                    <a:pt x="281" y="135"/>
                    <a:pt x="281" y="135"/>
                    <a:pt x="281" y="129"/>
                  </a:cubicBezTo>
                  <a:cubicBezTo>
                    <a:pt x="281" y="88"/>
                    <a:pt x="257" y="53"/>
                    <a:pt x="222" y="24"/>
                  </a:cubicBezTo>
                  <a:cubicBezTo>
                    <a:pt x="199" y="7"/>
                    <a:pt x="170" y="1"/>
                    <a:pt x="141" y="1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6" name="Google Shape;1203;p37">
              <a:extLst>
                <a:ext uri="{FF2B5EF4-FFF2-40B4-BE49-F238E27FC236}">
                  <a16:creationId xmlns:a16="http://schemas.microsoft.com/office/drawing/2014/main" id="{5904BBB6-2961-A67A-B93C-FB16EFBB69E0}"/>
                </a:ext>
              </a:extLst>
            </p:cNvPr>
            <p:cNvSpPr/>
            <p:nvPr/>
          </p:nvSpPr>
          <p:spPr>
            <a:xfrm>
              <a:off x="1282592" y="2356584"/>
              <a:ext cx="124" cy="1490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0"/>
                  </a:moveTo>
                  <a:cubicBezTo>
                    <a:pt x="1" y="6"/>
                    <a:pt x="1" y="6"/>
                    <a:pt x="1" y="1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7" name="Google Shape;1204;p37">
              <a:extLst>
                <a:ext uri="{FF2B5EF4-FFF2-40B4-BE49-F238E27FC236}">
                  <a16:creationId xmlns:a16="http://schemas.microsoft.com/office/drawing/2014/main" id="{06A0C768-8866-16DA-EDEB-34742DCE6AD3}"/>
                </a:ext>
              </a:extLst>
            </p:cNvPr>
            <p:cNvSpPr/>
            <p:nvPr/>
          </p:nvSpPr>
          <p:spPr>
            <a:xfrm>
              <a:off x="1229711" y="2356584"/>
              <a:ext cx="124" cy="1490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0"/>
                  </a:moveTo>
                  <a:lnTo>
                    <a:pt x="1" y="12"/>
                  </a:lnTo>
                  <a:cubicBezTo>
                    <a:pt x="1" y="6"/>
                    <a:pt x="1" y="6"/>
                    <a:pt x="1" y="0"/>
                  </a:cubicBezTo>
                  <a:close/>
                </a:path>
              </a:pathLst>
            </a:custGeom>
            <a:solidFill>
              <a:srgbClr val="FF6666"/>
            </a:solidFill>
            <a:ln>
              <a:solidFill>
                <a:srgbClr val="FFCE7D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8" name="Google Shape;1027;p33">
            <a:extLst>
              <a:ext uri="{FF2B5EF4-FFF2-40B4-BE49-F238E27FC236}">
                <a16:creationId xmlns:a16="http://schemas.microsoft.com/office/drawing/2014/main" id="{659EFFA0-A35D-09DC-101B-857952FDDBDC}"/>
              </a:ext>
            </a:extLst>
          </p:cNvPr>
          <p:cNvSpPr txBox="1"/>
          <p:nvPr/>
        </p:nvSpPr>
        <p:spPr>
          <a:xfrm>
            <a:off x="1153614" y="2210817"/>
            <a:ext cx="1543200" cy="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June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1027;p33">
            <a:extLst>
              <a:ext uri="{FF2B5EF4-FFF2-40B4-BE49-F238E27FC236}">
                <a16:creationId xmlns:a16="http://schemas.microsoft.com/office/drawing/2014/main" id="{31A3BEAC-1086-8778-4510-227D670383E1}"/>
              </a:ext>
            </a:extLst>
          </p:cNvPr>
          <p:cNvSpPr txBox="1"/>
          <p:nvPr/>
        </p:nvSpPr>
        <p:spPr>
          <a:xfrm>
            <a:off x="4810872" y="2198722"/>
            <a:ext cx="1543200" cy="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August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0" name="Google Shape;1027;p33">
            <a:extLst>
              <a:ext uri="{FF2B5EF4-FFF2-40B4-BE49-F238E27FC236}">
                <a16:creationId xmlns:a16="http://schemas.microsoft.com/office/drawing/2014/main" id="{11DC6DC0-6922-6D19-00C1-4FDB22545ABA}"/>
              </a:ext>
            </a:extLst>
          </p:cNvPr>
          <p:cNvSpPr txBox="1"/>
          <p:nvPr/>
        </p:nvSpPr>
        <p:spPr>
          <a:xfrm>
            <a:off x="2980126" y="2197522"/>
            <a:ext cx="1543200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July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1" name="Google Shape;1027;p33">
            <a:extLst>
              <a:ext uri="{FF2B5EF4-FFF2-40B4-BE49-F238E27FC236}">
                <a16:creationId xmlns:a16="http://schemas.microsoft.com/office/drawing/2014/main" id="{EAEBF7D6-F2B4-FB84-AACE-5C72F4215588}"/>
              </a:ext>
            </a:extLst>
          </p:cNvPr>
          <p:cNvSpPr txBox="1"/>
          <p:nvPr/>
        </p:nvSpPr>
        <p:spPr>
          <a:xfrm>
            <a:off x="8472554" y="2210958"/>
            <a:ext cx="1543200" cy="4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October -November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2" name="Google Shape;1027;p33">
            <a:extLst>
              <a:ext uri="{FF2B5EF4-FFF2-40B4-BE49-F238E27FC236}">
                <a16:creationId xmlns:a16="http://schemas.microsoft.com/office/drawing/2014/main" id="{C8E217FD-A457-9B5A-9FCD-52E2F9446D30}"/>
              </a:ext>
            </a:extLst>
          </p:cNvPr>
          <p:cNvSpPr txBox="1"/>
          <p:nvPr/>
        </p:nvSpPr>
        <p:spPr>
          <a:xfrm>
            <a:off x="10280584" y="2177122"/>
            <a:ext cx="1543200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69" hangingPunct="0"/>
            <a:r>
              <a:rPr lang="en-SG" sz="1333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December</a:t>
            </a:r>
            <a:endParaRPr sz="1333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99B7B8C-296C-2CF3-0DBF-9B63145CDAB3}"/>
              </a:ext>
            </a:extLst>
          </p:cNvPr>
          <p:cNvSpPr txBox="1"/>
          <p:nvPr/>
        </p:nvSpPr>
        <p:spPr>
          <a:xfrm>
            <a:off x="2849732" y="2742328"/>
            <a:ext cx="18000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Supply chain </a:t>
            </a:r>
            <a:r>
              <a:rPr lang="en-US" sz="1200" b="1" kern="0" dirty="0">
                <a:solidFill>
                  <a:srgbClr val="003462"/>
                </a:solidFill>
                <a:latin typeface="Helvetica Neue"/>
                <a:sym typeface="Helvetica Neue"/>
              </a:rPr>
              <a:t>certifications landscape</a:t>
            </a: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: what else is out there? 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3462"/>
                </a:solidFill>
                <a:latin typeface="Helvetica Neue"/>
                <a:sym typeface="Helvetica Neue"/>
              </a:rPr>
              <a:t>Potential users </a:t>
            </a: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– buyers, suppliers, shippers, financial institutions. What do they want? What do they need? 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3462"/>
                </a:solidFill>
                <a:latin typeface="Helvetica Neue"/>
                <a:sym typeface="Helvetica Neue"/>
              </a:rPr>
              <a:t>Auditors and Assessors</a:t>
            </a: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: qualifications and operating models 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3462"/>
                </a:solidFill>
                <a:latin typeface="Helvetica Neue"/>
                <a:sym typeface="Helvetica Neue"/>
              </a:rPr>
              <a:t>Maturity Model</a:t>
            </a: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:  self assessment, baseline, what does Gold look like</a:t>
            </a:r>
            <a:endParaRPr lang="en-US" sz="1200" b="1" kern="0" dirty="0">
              <a:solidFill>
                <a:srgbClr val="003462"/>
              </a:solidFill>
              <a:latin typeface="Helvetica Neue"/>
              <a:sym typeface="Helvetica Neue"/>
            </a:endParaRPr>
          </a:p>
          <a:p>
            <a:pPr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0B9FBA5-D430-EB30-265A-FDCEA69C5F62}"/>
              </a:ext>
            </a:extLst>
          </p:cNvPr>
          <p:cNvSpPr txBox="1"/>
          <p:nvPr/>
        </p:nvSpPr>
        <p:spPr>
          <a:xfrm>
            <a:off x="4770248" y="2769801"/>
            <a:ext cx="1800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Conformity assessment scheme brief scope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Technical needs analysis </a:t>
            </a:r>
          </a:p>
          <a:p>
            <a:pPr algn="ctr" defTabSz="1219169" hangingPunct="0"/>
            <a:endParaRPr lang="en-US" sz="1200" b="1" kern="0" dirty="0">
              <a:solidFill>
                <a:srgbClr val="003462"/>
              </a:solidFill>
              <a:latin typeface="Helvetica Neue"/>
              <a:sym typeface="Helvetica Neue"/>
            </a:endParaRPr>
          </a:p>
          <a:p>
            <a:pPr algn="ctr"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1198FA1-FDEB-EBAC-75A4-E99AC4BA93AA}"/>
              </a:ext>
            </a:extLst>
          </p:cNvPr>
          <p:cNvSpPr txBox="1"/>
          <p:nvPr/>
        </p:nvSpPr>
        <p:spPr>
          <a:xfrm>
            <a:off x="998266" y="2738865"/>
            <a:ext cx="180000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462"/>
                </a:solidFill>
                <a:effectLst/>
                <a:uLnTx/>
                <a:uFillTx/>
                <a:latin typeface="Helvetica Neue"/>
                <a:sym typeface="Helvetica Neue"/>
              </a:rPr>
              <a:t>Kick off of Certification Working Group under the DSI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3462"/>
                </a:solidFill>
                <a:effectLst/>
                <a:uLnTx/>
                <a:uFillTx/>
                <a:latin typeface="Helvetica Neue"/>
                <a:sym typeface="Helvetica Neue"/>
              </a:rPr>
              <a:t>Indusr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462"/>
                </a:solidFill>
                <a:effectLst/>
                <a:uLnTx/>
                <a:uFillTx/>
                <a:latin typeface="Helvetica Neue"/>
                <a:sym typeface="Helvetica Neue"/>
              </a:rPr>
              <a:t> Advisory Board</a:t>
            </a:r>
          </a:p>
          <a:p>
            <a:pPr marL="171450" marR="0" lvl="0" indent="-17145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462"/>
                </a:solidFill>
                <a:effectLst/>
                <a:uLnTx/>
                <a:uFillTx/>
                <a:latin typeface="Helvetica Neue"/>
                <a:sym typeface="Helvetica Neue"/>
              </a:rPr>
              <a:t>Members include:  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ISO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British Standards Inst 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SGS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Inditex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Singapore Standards 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Swift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Elevate/LRQA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DSCI / Ethisphere</a:t>
            </a:r>
          </a:p>
          <a:p>
            <a:pPr marL="85725" marR="0" lvl="0" indent="-85725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Helvetica Neue"/>
              </a:rPr>
              <a:t>C4DTI / ICCUK</a:t>
            </a:r>
          </a:p>
          <a:p>
            <a:pPr marL="0" marR="0" lvl="0" indent="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462"/>
              </a:solidFill>
              <a:effectLst/>
              <a:uLnTx/>
              <a:uFillTx/>
              <a:latin typeface="Helvetica Neue"/>
              <a:sym typeface="Helvetica Neue"/>
            </a:endParaRPr>
          </a:p>
          <a:p>
            <a:pPr marL="0" marR="0" lvl="0" indent="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462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047EE83-2394-9614-B5DE-9523BB495554}"/>
              </a:ext>
            </a:extLst>
          </p:cNvPr>
          <p:cNvSpPr txBox="1"/>
          <p:nvPr/>
        </p:nvSpPr>
        <p:spPr>
          <a:xfrm>
            <a:off x="6646094" y="2749293"/>
            <a:ext cx="164797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Elaborate technical requirements for scheme pillars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Test with focus groups including certification working group, assurance companies, digital platforms and others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Establish pilot pathways with UK and Germany ETDA implementation</a:t>
            </a:r>
          </a:p>
          <a:p>
            <a:pPr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endParaRPr lang="en-US" sz="1200" b="1" kern="0" dirty="0">
              <a:solidFill>
                <a:srgbClr val="003462"/>
              </a:solidFill>
              <a:latin typeface="Helvetica Neue"/>
              <a:sym typeface="Helvetica Neue"/>
            </a:endParaRPr>
          </a:p>
          <a:p>
            <a:pPr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77C8521-38FF-4106-F97D-317D6454CCCC}"/>
              </a:ext>
            </a:extLst>
          </p:cNvPr>
          <p:cNvSpPr txBox="1"/>
          <p:nvPr/>
        </p:nvSpPr>
        <p:spPr>
          <a:xfrm>
            <a:off x="10234568" y="2732895"/>
            <a:ext cx="165278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Focus groups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Business Plan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ISO pathway 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Release</a:t>
            </a:r>
          </a:p>
          <a:p>
            <a:pPr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F5CF36A-4347-0E35-9F7B-F51E0D9E87D1}"/>
              </a:ext>
            </a:extLst>
          </p:cNvPr>
          <p:cNvSpPr txBox="1"/>
          <p:nvPr/>
        </p:nvSpPr>
        <p:spPr>
          <a:xfrm>
            <a:off x="8294066" y="2741529"/>
            <a:ext cx="17463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Development of the Scheme 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3462"/>
                </a:solidFill>
                <a:latin typeface="Helvetica Neue"/>
                <a:sym typeface="Helvetica Neue"/>
              </a:rPr>
              <a:t>Explore other ways to bring CAS to market (e.g. other standards bodies)</a:t>
            </a:r>
          </a:p>
          <a:p>
            <a:pPr defTabSz="1219169" hangingPunct="0"/>
            <a:endParaRPr lang="en-US" sz="1200" kern="0" dirty="0">
              <a:solidFill>
                <a:srgbClr val="003462"/>
              </a:solidFill>
              <a:latin typeface="Helvetica Neue"/>
              <a:sym typeface="Helvetica Neue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E956C53F-DD35-A203-3EA7-E38808BC490E}"/>
              </a:ext>
            </a:extLst>
          </p:cNvPr>
          <p:cNvGrpSpPr/>
          <p:nvPr/>
        </p:nvGrpSpPr>
        <p:grpSpPr>
          <a:xfrm>
            <a:off x="10874489" y="1774951"/>
            <a:ext cx="365712" cy="367744"/>
            <a:chOff x="3746500" y="1344613"/>
            <a:chExt cx="285750" cy="287338"/>
          </a:xfrm>
          <a:solidFill>
            <a:srgbClr val="357DEA"/>
          </a:solidFill>
        </p:grpSpPr>
        <p:sp>
          <p:nvSpPr>
            <p:cNvPr id="90" name="Freeform 497">
              <a:extLst>
                <a:ext uri="{FF2B5EF4-FFF2-40B4-BE49-F238E27FC236}">
                  <a16:creationId xmlns:a16="http://schemas.microsoft.com/office/drawing/2014/main" id="{8044F176-E50C-5000-F3AD-1AA99CD46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1" name="Freeform 498">
              <a:extLst>
                <a:ext uri="{FF2B5EF4-FFF2-40B4-BE49-F238E27FC236}">
                  <a16:creationId xmlns:a16="http://schemas.microsoft.com/office/drawing/2014/main" id="{7A6C1F8C-95DE-974B-3943-53814C968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2" name="Freeform 499">
              <a:extLst>
                <a:ext uri="{FF2B5EF4-FFF2-40B4-BE49-F238E27FC236}">
                  <a16:creationId xmlns:a16="http://schemas.microsoft.com/office/drawing/2014/main" id="{3E7B4D04-5F08-5824-4374-90CDD4AD4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3" name="Freeform 500">
              <a:extLst>
                <a:ext uri="{FF2B5EF4-FFF2-40B4-BE49-F238E27FC236}">
                  <a16:creationId xmlns:a16="http://schemas.microsoft.com/office/drawing/2014/main" id="{8DCAD175-3785-E56C-1583-471623F8D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4" name="Freeform 501">
              <a:extLst>
                <a:ext uri="{FF2B5EF4-FFF2-40B4-BE49-F238E27FC236}">
                  <a16:creationId xmlns:a16="http://schemas.microsoft.com/office/drawing/2014/main" id="{2F0D3D1A-0408-079B-4A55-A6D6D49A7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5" name="Freeform 502">
              <a:extLst>
                <a:ext uri="{FF2B5EF4-FFF2-40B4-BE49-F238E27FC236}">
                  <a16:creationId xmlns:a16="http://schemas.microsoft.com/office/drawing/2014/main" id="{880F2425-E926-7355-8173-B4D87075F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6" name="Freeform 503">
              <a:extLst>
                <a:ext uri="{FF2B5EF4-FFF2-40B4-BE49-F238E27FC236}">
                  <a16:creationId xmlns:a16="http://schemas.microsoft.com/office/drawing/2014/main" id="{1D5D5829-72BA-2EA4-A776-A004B871D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  <p:sp>
          <p:nvSpPr>
            <p:cNvPr id="97" name="Freeform 504">
              <a:extLst>
                <a:ext uri="{FF2B5EF4-FFF2-40B4-BE49-F238E27FC236}">
                  <a16:creationId xmlns:a16="http://schemas.microsoft.com/office/drawing/2014/main" id="{29900BED-5318-A048-BB3C-38068E2E3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219169" hangingPunct="0"/>
              <a:endParaRPr lang="en-US" sz="2400" kern="0">
                <a:solidFill>
                  <a:srgbClr val="5E5E5E"/>
                </a:solidFill>
                <a:latin typeface="Helvetica Neue"/>
                <a:sym typeface="Helvetica Neue"/>
              </a:endParaRPr>
            </a:p>
          </p:txBody>
        </p:sp>
      </p:grpSp>
      <p:sp>
        <p:nvSpPr>
          <p:cNvPr id="98" name="Title 1">
            <a:extLst>
              <a:ext uri="{FF2B5EF4-FFF2-40B4-BE49-F238E27FC236}">
                <a16:creationId xmlns:a16="http://schemas.microsoft.com/office/drawing/2014/main" id="{75EAF3AE-AEEF-8578-3697-AA06F53D077A}"/>
              </a:ext>
            </a:extLst>
          </p:cNvPr>
          <p:cNvSpPr txBox="1">
            <a:spLocks/>
          </p:cNvSpPr>
          <p:nvPr/>
        </p:nvSpPr>
        <p:spPr>
          <a:xfrm>
            <a:off x="260722" y="138592"/>
            <a:ext cx="10985500" cy="580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Autofit/>
          </a:bodyPr>
          <a:lstStyle>
            <a:lvl1pPr marL="0" marR="0" indent="0" algn="l" defTabSz="121916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chemeClr val="bg1"/>
                </a:solidFill>
                <a:uFillTx/>
                <a:latin typeface="+mj-lt"/>
                <a:ea typeface="+mn-ea"/>
                <a:cs typeface="Gellix" pitchFamily="2" charset="77"/>
                <a:sym typeface="Helvetica Neue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0" cap="none" spc="-85" normalizeH="0" baseline="0" noProof="0" dirty="0">
                <a:ln>
                  <a:noFill/>
                </a:ln>
                <a:effectLst/>
                <a:uLnTx/>
                <a:uFillTx/>
                <a:cs typeface="Gellix" pitchFamily="2" charset="77"/>
                <a:sym typeface="Helvetica Neue"/>
              </a:rPr>
              <a:t>What have we done so far</a:t>
            </a:r>
            <a:endParaRPr kumimoji="0" lang="en-SG" sz="3600" i="0" u="none" strike="noStrike" kern="0" cap="none" spc="-85" normalizeH="0" baseline="0" noProof="0" dirty="0">
              <a:ln>
                <a:noFill/>
              </a:ln>
              <a:effectLst/>
              <a:uLnTx/>
              <a:uFillTx/>
              <a:cs typeface="Gellix" pitchFamily="2" charset="77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34758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679B8EA-362D-4FB7-F6C8-9A303AA0D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75652-2DD9-2242-928B-C4408E21A69B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7060BCC-E74C-9313-7136-D2DC3CCD129C}"/>
              </a:ext>
            </a:extLst>
          </p:cNvPr>
          <p:cNvSpPr txBox="1">
            <a:spLocks/>
          </p:cNvSpPr>
          <p:nvPr/>
        </p:nvSpPr>
        <p:spPr>
          <a:xfrm>
            <a:off x="594923" y="1357223"/>
            <a:ext cx="10527402" cy="4525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304800" marR="0" indent="-304800" algn="l" defTabSz="1219169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800" b="0" i="0" u="none" strike="noStrike" cap="none" spc="0" baseline="0">
                <a:solidFill>
                  <a:schemeClr val="bg1"/>
                </a:solidFill>
                <a:uFillTx/>
                <a:latin typeface="+mj-lt"/>
                <a:ea typeface="+mn-ea"/>
                <a:cs typeface="Gellix" pitchFamily="50" charset="0"/>
                <a:sym typeface="Helvetica Neue"/>
              </a:defRPr>
            </a:lvl1pPr>
            <a:lvl2pPr marL="609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Gellix" pitchFamily="50" charset="0"/>
                <a:ea typeface="+mn-ea"/>
                <a:cs typeface="Gellix" pitchFamily="50" charset="0"/>
                <a:sym typeface="Helvetica Neue"/>
              </a:defRPr>
            </a:lvl2pPr>
            <a:lvl3pPr marL="914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Gellix" pitchFamily="50" charset="0"/>
                <a:ea typeface="+mn-ea"/>
                <a:cs typeface="Gellix" pitchFamily="50" charset="0"/>
                <a:sym typeface="Helvetica Neue"/>
              </a:defRPr>
            </a:lvl3pPr>
            <a:lvl4pPr marL="1219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Gellix" pitchFamily="50" charset="0"/>
                <a:ea typeface="+mn-ea"/>
                <a:cs typeface="Gellix" pitchFamily="50" charset="0"/>
                <a:sym typeface="Helvetica Neue"/>
              </a:defRPr>
            </a:lvl4pPr>
            <a:lvl5pPr marL="15240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Gellix" pitchFamily="50" charset="0"/>
                <a:ea typeface="+mn-ea"/>
                <a:cs typeface="Gellix" pitchFamily="50" charset="0"/>
                <a:sym typeface="Helvetica Neue"/>
              </a:defRPr>
            </a:lvl5pPr>
            <a:lvl6pPr marL="1828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2133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2438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2743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357188" indent="-357188" defTabSz="914400">
              <a:lnSpc>
                <a:spcPct val="120000"/>
              </a:lnSpc>
              <a:buSzTx/>
              <a:buNone/>
              <a:defRPr/>
            </a:pPr>
            <a:r>
              <a:rPr lang="en-US" sz="2400" dirty="0">
                <a:cs typeface="+mn-cs"/>
              </a:rPr>
              <a:t>1. Introduce principles and references for the assessment of systems ad  services in four basic pillars (on next page)</a:t>
            </a:r>
          </a:p>
          <a:p>
            <a:pPr marL="719138" indent="-357188" defTabSz="914400">
              <a:lnSpc>
                <a:spcPct val="120000"/>
              </a:lnSpc>
              <a:buSzTx/>
              <a:defRPr/>
            </a:pPr>
            <a:r>
              <a:rPr lang="en-US" sz="2400" dirty="0">
                <a:cs typeface="+mn-cs"/>
              </a:rPr>
              <a:t>Have we segmented the issues correctly?</a:t>
            </a:r>
          </a:p>
          <a:p>
            <a:pPr marL="719138" indent="-357188" defTabSz="914400">
              <a:lnSpc>
                <a:spcPct val="120000"/>
              </a:lnSpc>
              <a:buSzTx/>
              <a:defRPr/>
            </a:pPr>
            <a:r>
              <a:rPr lang="en-US" sz="2400" dirty="0">
                <a:cs typeface="+mn-cs"/>
              </a:rPr>
              <a:t>Are the standards and legal references correct?</a:t>
            </a:r>
          </a:p>
          <a:p>
            <a:pPr marL="719138" indent="-357188" defTabSz="914400">
              <a:lnSpc>
                <a:spcPct val="120000"/>
              </a:lnSpc>
              <a:buSzTx/>
              <a:defRPr/>
            </a:pPr>
            <a:r>
              <a:rPr lang="en-US" sz="2400" dirty="0">
                <a:cs typeface="+mn-cs"/>
              </a:rPr>
              <a:t>Are there any assessment criteria which are over or </a:t>
            </a:r>
            <a:r>
              <a:rPr lang="en-US" sz="2400" dirty="0" err="1">
                <a:cs typeface="+mn-cs"/>
              </a:rPr>
              <a:t>underscoped</a:t>
            </a:r>
            <a:r>
              <a:rPr lang="en-US" sz="2400" dirty="0">
                <a:cs typeface="+mn-cs"/>
              </a:rPr>
              <a:t>? </a:t>
            </a:r>
          </a:p>
          <a:p>
            <a:pPr marL="357188" indent="-357188" defTabSz="914400">
              <a:lnSpc>
                <a:spcPct val="120000"/>
              </a:lnSpc>
              <a:buSzTx/>
              <a:buNone/>
              <a:defRPr/>
            </a:pPr>
            <a:endParaRPr lang="en-US" sz="2400" dirty="0">
              <a:cs typeface="+mn-cs"/>
            </a:endParaRPr>
          </a:p>
          <a:p>
            <a:pPr marL="357188" indent="-357188" defTabSz="914400">
              <a:lnSpc>
                <a:spcPct val="120000"/>
              </a:lnSpc>
              <a:buSzTx/>
              <a:buNone/>
              <a:defRPr/>
            </a:pPr>
            <a:r>
              <a:rPr lang="en-US" sz="2400" dirty="0">
                <a:cs typeface="+mn-cs"/>
              </a:rPr>
              <a:t>2. Gather any relevant references (standards, laws, certifications) needed to develop the scheme.  </a:t>
            </a:r>
          </a:p>
          <a:p>
            <a:pPr marL="357188" indent="-357188" defTabSz="914400">
              <a:lnSpc>
                <a:spcPct val="120000"/>
              </a:lnSpc>
              <a:buSzTx/>
              <a:buNone/>
              <a:defRPr/>
            </a:pPr>
            <a:endParaRPr lang="en-US" sz="2400" dirty="0">
              <a:cs typeface="+mn-cs"/>
            </a:endParaRPr>
          </a:p>
          <a:p>
            <a:pPr marL="0" indent="0" defTabSz="914400">
              <a:lnSpc>
                <a:spcPct val="120000"/>
              </a:lnSpc>
              <a:buSzTx/>
              <a:buNone/>
              <a:defRPr/>
            </a:pPr>
            <a:r>
              <a:rPr lang="en-US" sz="2400" dirty="0">
                <a:cs typeface="+mn-cs"/>
              </a:rPr>
              <a:t>3. Identify any experts who might be able to contribute to the scheme.</a:t>
            </a:r>
          </a:p>
          <a:p>
            <a:pPr marL="609600" marR="0" lvl="1" indent="-30480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Gellix" pitchFamily="50" charset="0"/>
              <a:sym typeface="Helvetica Neue"/>
            </a:endParaRPr>
          </a:p>
          <a:p>
            <a:pPr marL="0" marR="0" lvl="0" indent="0" algn="l" defTabSz="12191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endParaRPr kumimoji="0" lang="en-SG" sz="2400" b="0" i="0" u="none" strike="noStrike" kern="0" cap="none" spc="0" normalizeH="0" baseline="0" noProof="0" dirty="0">
              <a:ln>
                <a:noFill/>
              </a:ln>
              <a:solidFill>
                <a:srgbClr val="003462"/>
              </a:solidFill>
              <a:effectLst/>
              <a:uLnTx/>
              <a:uFillTx/>
              <a:latin typeface="Helvetica Neue"/>
              <a:cs typeface="Gellix" pitchFamily="50" charset="0"/>
              <a:sym typeface="Helvetica Neue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F7ED9BC-563B-EE62-CC01-D2A414A0212F}"/>
              </a:ext>
            </a:extLst>
          </p:cNvPr>
          <p:cNvSpPr txBox="1">
            <a:spLocks/>
          </p:cNvSpPr>
          <p:nvPr/>
        </p:nvSpPr>
        <p:spPr>
          <a:xfrm>
            <a:off x="594923" y="355350"/>
            <a:ext cx="10985500" cy="580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b">
            <a:normAutofit lnSpcReduction="10000"/>
          </a:bodyPr>
          <a:lstStyle>
            <a:lvl1pPr marL="0" marR="0" indent="0" algn="l" defTabSz="2438338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-170" baseline="0">
                <a:solidFill>
                  <a:schemeClr val="bg1"/>
                </a:solidFill>
                <a:uFillTx/>
                <a:latin typeface="+mj-lt"/>
                <a:ea typeface="+mn-ea"/>
                <a:cs typeface="Gellix" pitchFamily="2" charset="77"/>
                <a:sym typeface="Helvetica Neue"/>
              </a:defRPr>
            </a:lvl1pPr>
            <a:lvl2pPr marL="0" marR="0" indent="457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914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371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8288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22860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7432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32004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3657600" algn="l" defTabSz="2438338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1" i="0" u="none" strike="noStrike" cap="none" spc="-170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defTabSz="1219169"/>
            <a:r>
              <a:rPr lang="en-US" sz="3600" kern="0" spc="-85" dirty="0"/>
              <a:t>What we would like to achieve today </a:t>
            </a:r>
            <a:endParaRPr lang="en-SG" sz="3600" kern="0" spc="-85" dirty="0"/>
          </a:p>
        </p:txBody>
      </p:sp>
    </p:spTree>
    <p:extLst>
      <p:ext uri="{BB962C8B-B14F-4D97-AF65-F5344CB8AC3E}">
        <p14:creationId xmlns:p14="http://schemas.microsoft.com/office/powerpoint/2010/main" val="3178861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705E6E5A-316B-AF50-78FF-0CFFC35D338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37401" y="6412999"/>
            <a:ext cx="231775" cy="169277"/>
          </a:xfrm>
        </p:spPr>
        <p:txBody>
          <a:bodyPr/>
          <a:lstStyle/>
          <a:p>
            <a:pPr marL="381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381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5E59A71-2418-B4CB-6E1F-84D991B9E488}"/>
              </a:ext>
            </a:extLst>
          </p:cNvPr>
          <p:cNvSpPr txBox="1">
            <a:spLocks/>
          </p:cNvSpPr>
          <p:nvPr/>
        </p:nvSpPr>
        <p:spPr>
          <a:xfrm>
            <a:off x="603250" y="4762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0" marR="0" indent="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228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457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685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9144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1430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3716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6002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828800" algn="l" defTabSz="1219169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chemeClr val="accent1">
                    <a:hueOff val="114395"/>
                    <a:lumOff val="-24975"/>
                  </a:schemeClr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4250" b="1" i="0" u="none" strike="noStrike" kern="0" cap="none" spc="-85" normalizeH="0" baseline="0" noProof="0">
              <a:ln>
                <a:noFill/>
              </a:ln>
              <a:solidFill>
                <a:srgbClr val="00A2FF">
                  <a:hueOff val="114395"/>
                  <a:lumOff val="-24975"/>
                </a:srgbClr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3310F0-3307-3BE5-3A87-AD1D4581473C}"/>
              </a:ext>
            </a:extLst>
          </p:cNvPr>
          <p:cNvSpPr txBox="1">
            <a:spLocks/>
          </p:cNvSpPr>
          <p:nvPr/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 marL="304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609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914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1219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15240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18288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21336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24384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2743200" marR="0" indent="-304800" algn="l" defTabSz="1219169" rtl="0" latinLnBrk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304800" marR="0" lvl="0" indent="-30480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endParaRPr kumimoji="0" lang="en-SG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7D2C23-E993-EEFA-0500-C4696FF8EE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630" y="124811"/>
            <a:ext cx="11036120" cy="6207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060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E9C3DE5-5116-097F-1044-FB9A04D7F3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6085" y="4101447"/>
            <a:ext cx="5467232" cy="2387815"/>
          </a:xfrm>
        </p:spPr>
        <p:txBody>
          <a:bodyPr/>
          <a:lstStyle/>
          <a:p>
            <a:endParaRPr lang="en-GB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GB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bscribe</a:t>
            </a:r>
            <a:r>
              <a:rPr lang="en-GB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to our news</a:t>
            </a:r>
          </a:p>
          <a:p>
            <a:r>
              <a:rPr lang="en-GB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isit </a:t>
            </a:r>
            <a:r>
              <a:rPr lang="en-GB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i.iccwbo.org</a:t>
            </a:r>
            <a:endParaRPr lang="en-GB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GB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GB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72C176-4207-327F-AFD2-A5953E8950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A75652-2DD9-2242-928B-C4408E21A69B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pic>
        <p:nvPicPr>
          <p:cNvPr id="12" name="Picture 11" descr="A black and white logo&#10;&#10;Description automatically generated">
            <a:extLst>
              <a:ext uri="{FF2B5EF4-FFF2-40B4-BE49-F238E27FC236}">
                <a16:creationId xmlns:a16="http://schemas.microsoft.com/office/drawing/2014/main" id="{2AC657F7-3A53-4288-68CE-5FEB4BEFFA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85" y="2850431"/>
            <a:ext cx="3830127" cy="11571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5213CE-30FF-D0AD-7F4C-75748D09F6D5}"/>
              </a:ext>
            </a:extLst>
          </p:cNvPr>
          <p:cNvSpPr txBox="1"/>
          <p:nvPr/>
        </p:nvSpPr>
        <p:spPr>
          <a:xfrm>
            <a:off x="5615101" y="1912995"/>
            <a:ext cx="11156762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Educate and engage your commun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Digital transform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Supply chain digitalizatio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Digital standards ado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SG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Advocate to your govern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SG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Adoption of global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SG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Paperless trade and trade facilitation implement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SG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regular"/>
                <a:ea typeface="+mn-ea"/>
                <a:cs typeface="+mn-cs"/>
              </a:rPr>
              <a:t>Alignment with global legal framewor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regular"/>
              <a:ea typeface="+mn-ea"/>
              <a:cs typeface="+mn-cs"/>
            </a:endParaRPr>
          </a:p>
        </p:txBody>
      </p:sp>
      <p:sp>
        <p:nvSpPr>
          <p:cNvPr id="8" name="Titre 5">
            <a:extLst>
              <a:ext uri="{FF2B5EF4-FFF2-40B4-BE49-F238E27FC236}">
                <a16:creationId xmlns:a16="http://schemas.microsoft.com/office/drawing/2014/main" id="{C3465CA0-20F0-8651-0FE0-C0D1DC360C32}"/>
              </a:ext>
            </a:extLst>
          </p:cNvPr>
          <p:cNvSpPr txBox="1">
            <a:spLocks/>
          </p:cNvSpPr>
          <p:nvPr/>
        </p:nvSpPr>
        <p:spPr>
          <a:xfrm>
            <a:off x="4406862" y="1264356"/>
            <a:ext cx="8506757" cy="6017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i="0" kern="1200">
                <a:solidFill>
                  <a:schemeClr val="bg1"/>
                </a:solidFill>
                <a:latin typeface="Gellix" pitchFamily="2" charset="77"/>
                <a:ea typeface="+mj-ea"/>
                <a:cs typeface="Gellix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7DFF"/>
                </a:solidFill>
                <a:effectLst/>
                <a:uLnTx/>
                <a:uFillTx/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Digital transformation is a team sports</a:t>
            </a:r>
          </a:p>
        </p:txBody>
      </p:sp>
    </p:spTree>
    <p:extLst>
      <p:ext uri="{BB962C8B-B14F-4D97-AF65-F5344CB8AC3E}">
        <p14:creationId xmlns:p14="http://schemas.microsoft.com/office/powerpoint/2010/main" val="310585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HELVETICA">
      <a:majorFont>
        <a:latin typeface="Helvetica regular"/>
        <a:ea typeface=""/>
        <a:cs typeface=""/>
      </a:majorFont>
      <a:minorFont>
        <a:latin typeface="Helvetic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sz="2800" dirty="0">
            <a:solidFill>
              <a:srgbClr val="0263A7"/>
            </a:solidFill>
            <a:latin typeface="Gotham Medium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HELVETICA">
      <a:majorFont>
        <a:latin typeface="Helvetica regular"/>
        <a:ea typeface=""/>
        <a:cs typeface=""/>
      </a:majorFont>
      <a:minorFont>
        <a:latin typeface="Helvetic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sz="2800" dirty="0">
            <a:solidFill>
              <a:srgbClr val="0263A7"/>
            </a:solidFill>
            <a:latin typeface="Gotham Medium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HELVETICA">
      <a:majorFont>
        <a:latin typeface="Helvetica regular"/>
        <a:ea typeface=""/>
        <a:cs typeface=""/>
      </a:majorFont>
      <a:minorFont>
        <a:latin typeface="Helvetic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dirty="0" err="1" smtClean="0">
            <a:solidFill>
              <a:schemeClr val="bg1"/>
            </a:solidFill>
            <a:latin typeface="+mj-lt"/>
            <a:cs typeface="Gellix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Gellix">
      <a:majorFont>
        <a:latin typeface="Gellix"/>
        <a:ea typeface=""/>
        <a:cs typeface=""/>
      </a:majorFont>
      <a:minorFont>
        <a:latin typeface="G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sz="2800" dirty="0" smtClean="0">
            <a:solidFill>
              <a:schemeClr val="bg1"/>
            </a:solidFill>
            <a:latin typeface="Gellix" pitchFamily="2" charset="77"/>
            <a:cs typeface="Gellix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dirty="0" smtClean="0">
            <a:solidFill>
              <a:schemeClr val="bg1"/>
            </a:solidFill>
            <a:latin typeface="Gellix" pitchFamily="2" charset="77"/>
            <a:cs typeface="Gellix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ICC Grid 16:9 - 18848">
  <a:themeElements>
    <a:clrScheme name="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BFF"/>
        </a:solidFill>
        <a:ln w="9525" cap="rnd" cmpd="sng" algn="ctr">
          <a:solidFill>
            <a:srgbClr val="007BF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8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HELVETICA">
      <a:majorFont>
        <a:latin typeface="Helvetica regular"/>
        <a:ea typeface=""/>
        <a:cs typeface=""/>
      </a:majorFont>
      <a:minorFont>
        <a:latin typeface="Helvetic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sz="2800" dirty="0">
            <a:solidFill>
              <a:srgbClr val="0263A7"/>
            </a:solidFill>
            <a:latin typeface="Gotham Medium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HELVETICA">
      <a:majorFont>
        <a:latin typeface="Helvetica regular"/>
        <a:ea typeface=""/>
        <a:cs typeface=""/>
      </a:majorFont>
      <a:minorFont>
        <a:latin typeface="Helvetic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dirty="0" err="1" smtClean="0">
            <a:solidFill>
              <a:schemeClr val="bg1"/>
            </a:solidFill>
            <a:latin typeface="+mj-lt"/>
            <a:cs typeface="Gellix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WE ARE ICC">
      <a:dk1>
        <a:srgbClr val="007BFF"/>
      </a:dk1>
      <a:lt1>
        <a:srgbClr val="000000"/>
      </a:lt1>
      <a:dk2>
        <a:srgbClr val="FFFFFF"/>
      </a:dk2>
      <a:lt2>
        <a:srgbClr val="007BFF"/>
      </a:lt2>
      <a:accent1>
        <a:srgbClr val="007DFF"/>
      </a:accent1>
      <a:accent2>
        <a:srgbClr val="00BC00"/>
      </a:accent2>
      <a:accent3>
        <a:srgbClr val="853DE5"/>
      </a:accent3>
      <a:accent4>
        <a:srgbClr val="FF5769"/>
      </a:accent4>
      <a:accent5>
        <a:srgbClr val="999998"/>
      </a:accent5>
      <a:accent6>
        <a:srgbClr val="382F2C"/>
      </a:accent6>
      <a:hlink>
        <a:srgbClr val="007DFF"/>
      </a:hlink>
      <a:folHlink>
        <a:srgbClr val="003493"/>
      </a:folHlink>
    </a:clrScheme>
    <a:fontScheme name="Gellix">
      <a:majorFont>
        <a:latin typeface="Gellix"/>
        <a:ea typeface=""/>
        <a:cs typeface=""/>
      </a:majorFont>
      <a:minorFont>
        <a:latin typeface="Gellix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800"/>
          </a:spcBef>
          <a:buSzPct val="120000"/>
          <a:defRPr sz="2800" dirty="0" smtClean="0">
            <a:solidFill>
              <a:schemeClr val="bg1"/>
            </a:solidFill>
            <a:latin typeface="Gellix" pitchFamily="2" charset="77"/>
            <a:cs typeface="Gellix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0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1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2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3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4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5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6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7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8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19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0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1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2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3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4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5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6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7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8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29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3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30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31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32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4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5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6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7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8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ppt/theme/themeOverride9.xml><?xml version="1.0" encoding="utf-8"?>
<a:themeOverride xmlns:a="http://schemas.openxmlformats.org/drawingml/2006/main">
  <a:clrScheme name="ICC">
    <a:dk1>
      <a:srgbClr val="007BFF"/>
    </a:dk1>
    <a:lt1>
      <a:srgbClr val="000000"/>
    </a:lt1>
    <a:dk2>
      <a:srgbClr val="FFFFFF"/>
    </a:dk2>
    <a:lt2>
      <a:srgbClr val="007BFF"/>
    </a:lt2>
    <a:accent1>
      <a:srgbClr val="007DFF"/>
    </a:accent1>
    <a:accent2>
      <a:srgbClr val="00BC00"/>
    </a:accent2>
    <a:accent3>
      <a:srgbClr val="853DE5"/>
    </a:accent3>
    <a:accent4>
      <a:srgbClr val="FF5769"/>
    </a:accent4>
    <a:accent5>
      <a:srgbClr val="999998"/>
    </a:accent5>
    <a:accent6>
      <a:srgbClr val="382F2C"/>
    </a:accent6>
    <a:hlink>
      <a:srgbClr val="007DFF"/>
    </a:hlink>
    <a:folHlink>
      <a:srgbClr val="00349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9687b16-439d-445b-a0a1-9f8838c52bbc">
      <Terms xmlns="http://schemas.microsoft.com/office/infopath/2007/PartnerControls"/>
    </lcf76f155ced4ddcb4097134ff3c332f>
    <TaxCatchAll xmlns="598f140b-4145-4024-8bcc-6d7083f15a2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A37A8B71FC384DADD83229E0A2E5B1" ma:contentTypeVersion="17" ma:contentTypeDescription="Crée un document." ma:contentTypeScope="" ma:versionID="ad52605ac37c824cf83845e511c3a5e6">
  <xsd:schema xmlns:xsd="http://www.w3.org/2001/XMLSchema" xmlns:xs="http://www.w3.org/2001/XMLSchema" xmlns:p="http://schemas.microsoft.com/office/2006/metadata/properties" xmlns:ns2="59687b16-439d-445b-a0a1-9f8838c52bbc" xmlns:ns3="201d7919-24dc-4333-848d-71272f92bf5a" xmlns:ns4="598f140b-4145-4024-8bcc-6d7083f15a24" targetNamespace="http://schemas.microsoft.com/office/2006/metadata/properties" ma:root="true" ma:fieldsID="790d3116ed5a9424ca5dfd72a7415270" ns2:_="" ns3:_="" ns4:_="">
    <xsd:import namespace="59687b16-439d-445b-a0a1-9f8838c52bbc"/>
    <xsd:import namespace="201d7919-24dc-4333-848d-71272f92bf5a"/>
    <xsd:import namespace="598f140b-4145-4024-8bcc-6d7083f15a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687b16-439d-445b-a0a1-9f8838c52b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b34d393a-c683-4ae6-92a3-16801d27c9b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1d7919-24dc-4333-848d-71272f92bf5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8f140b-4145-4024-8bcc-6d7083f15a24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620325b7-61a7-45e7-a3c3-a473ab25cb91}" ma:internalName="TaxCatchAll" ma:showField="CatchAllData" ma:web="201d7919-24dc-4333-848d-71272f92bf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B24E12-21EA-468C-8A1C-DA49C2C1780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4177CCD-BD6B-4BBA-AF24-2E36BB80C1ED}">
  <ds:schemaRefs>
    <ds:schemaRef ds:uri="http://purl.org/dc/dcmitype/"/>
    <ds:schemaRef ds:uri="59687b16-439d-445b-a0a1-9f8838c52bbc"/>
    <ds:schemaRef ds:uri="http://purl.org/dc/terms/"/>
    <ds:schemaRef ds:uri="http://purl.org/dc/elements/1.1/"/>
    <ds:schemaRef ds:uri="201d7919-24dc-4333-848d-71272f92bf5a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598f140b-4145-4024-8bcc-6d7083f15a24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C58AF9F-5D33-4ED6-9884-38DF9453C3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687b16-439d-445b-a0a1-9f8838c52bbc"/>
    <ds:schemaRef ds:uri="201d7919-24dc-4333-848d-71272f92bf5a"/>
    <ds:schemaRef ds:uri="598f140b-4145-4024-8bcc-6d7083f15a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3</Words>
  <Application>Microsoft Office PowerPoint</Application>
  <PresentationFormat>Widescreen</PresentationFormat>
  <Paragraphs>84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2_Office Theme</vt:lpstr>
      <vt:lpstr>3_Office Theme</vt:lpstr>
      <vt:lpstr>4_Office Theme</vt:lpstr>
      <vt:lpstr>7_Office Theme</vt:lpstr>
      <vt:lpstr>ICC Grid 16:9 - 18848</vt:lpstr>
      <vt:lpstr>8_Office Theme</vt:lpstr>
      <vt:lpstr>5_Office Theme</vt:lpstr>
      <vt:lpstr>9_Office Theme</vt:lpstr>
      <vt:lpstr>6_Office Theme</vt:lpstr>
      <vt:lpstr>10_Office Theme</vt:lpstr>
      <vt:lpstr>Enabling the Transition from document to data with Scalable Digital Tru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nternational Chamber of Commer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Standards Initiative</dc:title>
  <dc:creator>NGUYEN Hannah</dc:creator>
  <cp:lastModifiedBy>WONG Wai Yee</cp:lastModifiedBy>
  <cp:revision>202</cp:revision>
  <dcterms:created xsi:type="dcterms:W3CDTF">2022-10-03T13:56:38Z</dcterms:created>
  <dcterms:modified xsi:type="dcterms:W3CDTF">2023-11-27T16:4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A37A8B71FC384DADD83229E0A2E5B1</vt:lpwstr>
  </property>
  <property fmtid="{D5CDD505-2E9C-101B-9397-08002B2CF9AE}" pid="3" name="MediaServiceImageTags">
    <vt:lpwstr/>
  </property>
</Properties>
</file>